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5707050"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hyperlink" Target="mailto:services@iebrain.com" TargetMode="External"/><Relationship Id="rId7" Type="http://schemas.openxmlformats.org/officeDocument/2006/relationships/image" Target="../media/image17.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hyperlink" Target="http://www.iebrain.co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FB3F7C1-FC3B-2F2F-B825-9F1325ACDA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A9BFEEB6-062A-EDE3-2552-8B95C14774C0}"/>
              </a:ext>
            </a:extLst>
          </p:cNvPr>
          <p:cNvSpPr/>
          <p:nvPr userDrawn="1"/>
        </p:nvSpPr>
        <p:spPr>
          <a:xfrm>
            <a:off x="0" y="1"/>
            <a:ext cx="3617474" cy="1011693"/>
          </a:xfrm>
          <a:custGeom>
            <a:avLst/>
            <a:gdLst>
              <a:gd name="connsiteX0" fmla="*/ 0 w 3617474"/>
              <a:gd name="connsiteY0" fmla="*/ 0 h 1011693"/>
              <a:gd name="connsiteX1" fmla="*/ 3617474 w 3617474"/>
              <a:gd name="connsiteY1" fmla="*/ 0 h 1011693"/>
              <a:gd name="connsiteX2" fmla="*/ 3617474 w 3617474"/>
              <a:gd name="connsiteY2" fmla="*/ 638976 h 1011693"/>
              <a:gd name="connsiteX3" fmla="*/ 3143181 w 3617474"/>
              <a:gd name="connsiteY3" fmla="*/ 1011693 h 1011693"/>
              <a:gd name="connsiteX4" fmla="*/ 0 w 3617474"/>
              <a:gd name="connsiteY4" fmla="*/ 1011693 h 1011693"/>
              <a:gd name="connsiteX5" fmla="*/ 0 w 3617474"/>
              <a:gd name="connsiteY5" fmla="*/ 0 h 101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7474" h="1011693">
                <a:moveTo>
                  <a:pt x="0" y="0"/>
                </a:moveTo>
                <a:lnTo>
                  <a:pt x="3617474" y="0"/>
                </a:lnTo>
                <a:lnTo>
                  <a:pt x="3617474" y="638976"/>
                </a:lnTo>
                <a:cubicBezTo>
                  <a:pt x="3617474" y="844822"/>
                  <a:pt x="3405126" y="1011693"/>
                  <a:pt x="3143181" y="1011693"/>
                </a:cubicBezTo>
                <a:lnTo>
                  <a:pt x="0" y="1011693"/>
                </a:lnTo>
                <a:lnTo>
                  <a:pt x="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8" name="Title 1">
            <a:extLst>
              <a:ext uri="{FF2B5EF4-FFF2-40B4-BE49-F238E27FC236}">
                <a16:creationId xmlns:a16="http://schemas.microsoft.com/office/drawing/2014/main" id="{7933B989-39F9-8C66-0727-66642486904D}"/>
              </a:ext>
            </a:extLst>
          </p:cNvPr>
          <p:cNvSpPr>
            <a:spLocks noGrp="1"/>
          </p:cNvSpPr>
          <p:nvPr>
            <p:ph type="ctrTitle"/>
          </p:nvPr>
        </p:nvSpPr>
        <p:spPr>
          <a:xfrm>
            <a:off x="622663" y="2167395"/>
            <a:ext cx="3648891" cy="2387600"/>
          </a:xfrm>
        </p:spPr>
        <p:txBody>
          <a:bodyPr anchor="b">
            <a:normAutofit/>
          </a:bodyPr>
          <a:lstStyle>
            <a:lvl1pPr algn="l">
              <a:defRPr sz="4000">
                <a:solidFill>
                  <a:schemeClr val="bg1"/>
                </a:solidFill>
                <a:latin typeface="Raleway ExtraBold" panose="020B0903030101060003" pitchFamily="34" charset="0"/>
              </a:defRPr>
            </a:lvl1pPr>
          </a:lstStyle>
          <a:p>
            <a:r>
              <a:rPr lang="en-US" dirty="0"/>
              <a:t>Click to edit Master title style</a:t>
            </a:r>
            <a:endParaRPr lang="en-IN" dirty="0"/>
          </a:p>
        </p:txBody>
      </p:sp>
      <p:sp>
        <p:nvSpPr>
          <p:cNvPr id="9" name="Subtitle 2">
            <a:extLst>
              <a:ext uri="{FF2B5EF4-FFF2-40B4-BE49-F238E27FC236}">
                <a16:creationId xmlns:a16="http://schemas.microsoft.com/office/drawing/2014/main" id="{97334F23-7D63-EB10-01F2-43838D1DA2B4}"/>
              </a:ext>
            </a:extLst>
          </p:cNvPr>
          <p:cNvSpPr>
            <a:spLocks noGrp="1"/>
          </p:cNvSpPr>
          <p:nvPr>
            <p:ph type="subTitle" idx="1"/>
          </p:nvPr>
        </p:nvSpPr>
        <p:spPr>
          <a:xfrm>
            <a:off x="622663" y="4647070"/>
            <a:ext cx="3648891" cy="1655762"/>
          </a:xfrm>
        </p:spPr>
        <p:txBody>
          <a:bodyPr/>
          <a:lstStyle>
            <a:lvl1pPr marL="0" indent="0" algn="l">
              <a:buNone/>
              <a:defRPr sz="2400">
                <a:solidFill>
                  <a:schemeClr val="bg1"/>
                </a:solidFill>
                <a:latin typeface="Raleway Medium" panose="020B06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pic>
        <p:nvPicPr>
          <p:cNvPr id="3" name="Picture 2" descr="A blue and green logo&#10;&#10;Description automatically generated">
            <a:extLst>
              <a:ext uri="{FF2B5EF4-FFF2-40B4-BE49-F238E27FC236}">
                <a16:creationId xmlns:a16="http://schemas.microsoft.com/office/drawing/2014/main" id="{196992A1-2C38-EBB0-140E-F434D368B878}"/>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7455" y="-776477"/>
            <a:ext cx="2733342" cy="2733342"/>
          </a:xfrm>
          <a:prstGeom prst="rect">
            <a:avLst/>
          </a:prstGeom>
        </p:spPr>
      </p:pic>
    </p:spTree>
    <p:extLst>
      <p:ext uri="{BB962C8B-B14F-4D97-AF65-F5344CB8AC3E}">
        <p14:creationId xmlns:p14="http://schemas.microsoft.com/office/powerpoint/2010/main" val="2617896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8DF85-AD9A-325E-A66C-DE9EA3BEDF39}"/>
              </a:ext>
            </a:extLst>
          </p:cNvPr>
          <p:cNvSpPr>
            <a:spLocks noGrp="1"/>
          </p:cNvSpPr>
          <p:nvPr>
            <p:ph type="ctrTitle"/>
          </p:nvPr>
        </p:nvSpPr>
        <p:spPr>
          <a:xfrm>
            <a:off x="622663" y="2167395"/>
            <a:ext cx="3648891" cy="2387600"/>
          </a:xfrm>
        </p:spPr>
        <p:txBody>
          <a:bodyPr anchor="b">
            <a:normAutofit/>
          </a:bodyPr>
          <a:lstStyle>
            <a:lvl1pPr algn="l">
              <a:defRPr sz="4000">
                <a:solidFill>
                  <a:schemeClr val="bg1"/>
                </a:solidFill>
                <a:latin typeface="Raleway ExtraBold" panose="020B0903030101060003" pitchFamily="34" charset="0"/>
              </a:defRPr>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9DFA8A38-1356-D4C9-FA7A-A8142EB66B27}"/>
              </a:ext>
            </a:extLst>
          </p:cNvPr>
          <p:cNvSpPr>
            <a:spLocks noGrp="1"/>
          </p:cNvSpPr>
          <p:nvPr>
            <p:ph type="subTitle" idx="1"/>
          </p:nvPr>
        </p:nvSpPr>
        <p:spPr>
          <a:xfrm>
            <a:off x="622663" y="4647070"/>
            <a:ext cx="3648891" cy="1655762"/>
          </a:xfrm>
        </p:spPr>
        <p:txBody>
          <a:bodyPr/>
          <a:lstStyle>
            <a:lvl1pPr marL="0" indent="0" algn="l">
              <a:buNone/>
              <a:defRPr sz="2400">
                <a:solidFill>
                  <a:schemeClr val="bg1"/>
                </a:solidFill>
                <a:latin typeface="Raleway Medium" panose="020B06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
        <p:nvSpPr>
          <p:cNvPr id="4" name="Date Placeholder 3">
            <a:extLst>
              <a:ext uri="{FF2B5EF4-FFF2-40B4-BE49-F238E27FC236}">
                <a16:creationId xmlns:a16="http://schemas.microsoft.com/office/drawing/2014/main" id="{A8EB59CF-68FF-6C63-1DDC-EB936DB8346B}"/>
              </a:ext>
            </a:extLst>
          </p:cNvPr>
          <p:cNvSpPr>
            <a:spLocks noGrp="1"/>
          </p:cNvSpPr>
          <p:nvPr>
            <p:ph type="dt" sz="half" idx="10"/>
          </p:nvPr>
        </p:nvSpPr>
        <p:spPr/>
        <p:txBody>
          <a:bodyPr/>
          <a:lstStyle/>
          <a:p>
            <a:fld id="{FF1125A6-8D7F-4670-81E9-B3B8892A956C}" type="datetimeFigureOut">
              <a:rPr lang="en-IN" smtClean="0"/>
              <a:t>03-01-2024</a:t>
            </a:fld>
            <a:endParaRPr lang="en-IN" dirty="0"/>
          </a:p>
        </p:txBody>
      </p:sp>
      <p:pic>
        <p:nvPicPr>
          <p:cNvPr id="16" name="Picture 15" descr="A close-up of a blue and white background&#10;&#10;Description automatically generated">
            <a:extLst>
              <a:ext uri="{FF2B5EF4-FFF2-40B4-BE49-F238E27FC236}">
                <a16:creationId xmlns:a16="http://schemas.microsoft.com/office/drawing/2014/main" id="{2A82FBC4-F366-D509-AD7B-76C0CA3940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7F112BA6-3275-A03F-7638-5223AE56FB6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85B44F1-B11D-6380-2891-A7581AEF6B00}"/>
              </a:ext>
            </a:extLst>
          </p:cNvPr>
          <p:cNvSpPr>
            <a:spLocks noGrp="1"/>
          </p:cNvSpPr>
          <p:nvPr>
            <p:ph type="sldNum" sz="quarter" idx="12"/>
          </p:nvPr>
        </p:nvSpPr>
        <p:spPr/>
        <p:txBody>
          <a:bodyPr/>
          <a:lstStyle/>
          <a:p>
            <a:fld id="{FE9301C3-5C28-4195-B06A-EC354ACF53E7}" type="slidenum">
              <a:rPr lang="en-IN" smtClean="0"/>
              <a:t>‹#›</a:t>
            </a:fld>
            <a:endParaRPr lang="en-IN" dirty="0"/>
          </a:p>
        </p:txBody>
      </p:sp>
      <p:pic>
        <p:nvPicPr>
          <p:cNvPr id="11" name="Picture 10" descr="A logo with a black background&#10;&#10;Description automatically generated">
            <a:extLst>
              <a:ext uri="{FF2B5EF4-FFF2-40B4-BE49-F238E27FC236}">
                <a16:creationId xmlns:a16="http://schemas.microsoft.com/office/drawing/2014/main" id="{3A6FD7D9-6476-610B-BB82-2F7A5FC053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4125" y="555168"/>
            <a:ext cx="2994475" cy="692175"/>
          </a:xfrm>
          <a:prstGeom prst="rect">
            <a:avLst/>
          </a:prstGeom>
        </p:spPr>
      </p:pic>
    </p:spTree>
    <p:extLst>
      <p:ext uri="{BB962C8B-B14F-4D97-AF65-F5344CB8AC3E}">
        <p14:creationId xmlns:p14="http://schemas.microsoft.com/office/powerpoint/2010/main" val="820424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3A520EEE-6B8E-A2B6-21BE-4148715044AC}"/>
              </a:ext>
            </a:extLst>
          </p:cNvPr>
          <p:cNvPicPr>
            <a:picLocks noChangeAspect="1" noChangeArrowheads="1"/>
          </p:cNvPicPr>
          <p:nvPr userDrawn="1"/>
        </p:nvPicPr>
        <p:blipFill rotWithShape="1">
          <a:blip r:embed="rId2">
            <a:clrChange>
              <a:clrFrom>
                <a:srgbClr val="000000">
                  <a:alpha val="0"/>
                </a:srgbClr>
              </a:clrFrom>
              <a:clrTo>
                <a:srgbClr val="000000">
                  <a:alpha val="0"/>
                </a:srgbClr>
              </a:clrTo>
            </a:clrChange>
            <a:extLst>
              <a:ext uri="{BEBA8EAE-BF5A-486C-A8C5-ECC9F3942E4B}">
                <a14:imgProps xmlns:a14="http://schemas.microsoft.com/office/drawing/2010/main">
                  <a14:imgLayer r:embed="rId3">
                    <a14:imgEffect>
                      <a14:colorTemperature colorTemp="7200"/>
                    </a14:imgEffect>
                    <a14:imgEffect>
                      <a14:saturation sat="66000"/>
                    </a14:imgEffect>
                  </a14:imgLayer>
                </a14:imgProps>
              </a:ext>
              <a:ext uri="{28A0092B-C50C-407E-A947-70E740481C1C}">
                <a14:useLocalDpi xmlns:a14="http://schemas.microsoft.com/office/drawing/2010/main" val="0"/>
              </a:ext>
            </a:extLst>
          </a:blip>
          <a:srcRect t="18248" b="42030"/>
          <a:stretch/>
        </p:blipFill>
        <p:spPr bwMode="auto">
          <a:xfrm>
            <a:off x="0" y="0"/>
            <a:ext cx="12192000" cy="2724151"/>
          </a:xfrm>
          <a:prstGeom prst="rect">
            <a:avLst/>
          </a:prstGeom>
          <a:noFill/>
        </p:spPr>
      </p:pic>
      <p:sp>
        <p:nvSpPr>
          <p:cNvPr id="8" name="Rectangle 7">
            <a:extLst>
              <a:ext uri="{FF2B5EF4-FFF2-40B4-BE49-F238E27FC236}">
                <a16:creationId xmlns:a16="http://schemas.microsoft.com/office/drawing/2014/main" id="{5F843825-6FA1-6DFD-3849-E19B782528ED}"/>
              </a:ext>
            </a:extLst>
          </p:cNvPr>
          <p:cNvSpPr/>
          <p:nvPr userDrawn="1"/>
        </p:nvSpPr>
        <p:spPr>
          <a:xfrm rot="16200000">
            <a:off x="4733924" y="-4733925"/>
            <a:ext cx="2724151" cy="12192000"/>
          </a:xfrm>
          <a:prstGeom prst="rect">
            <a:avLst/>
          </a:prstGeom>
          <a:gradFill flip="none" rotWithShape="1">
            <a:gsLst>
              <a:gs pos="32000">
                <a:srgbClr val="043871"/>
              </a:gs>
              <a:gs pos="100000">
                <a:srgbClr val="02346E">
                  <a:alpha val="3900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Footer Placeholder 4">
            <a:extLst>
              <a:ext uri="{FF2B5EF4-FFF2-40B4-BE49-F238E27FC236}">
                <a16:creationId xmlns:a16="http://schemas.microsoft.com/office/drawing/2014/main" id="{E0CF5035-9921-EA45-3399-71028164D3A3}"/>
              </a:ext>
            </a:extLst>
          </p:cNvPr>
          <p:cNvSpPr>
            <a:spLocks noGrp="1"/>
          </p:cNvSpPr>
          <p:nvPr>
            <p:ph type="ftr" sz="quarter" idx="11"/>
          </p:nvPr>
        </p:nvSpPr>
        <p:spPr>
          <a:xfrm>
            <a:off x="4038600" y="6419850"/>
            <a:ext cx="4114800" cy="365125"/>
          </a:xfrm>
        </p:spPr>
        <p:txBody>
          <a:bodyPr/>
          <a:lstStyle/>
          <a:p>
            <a:endParaRPr lang="en-IN" dirty="0"/>
          </a:p>
        </p:txBody>
      </p:sp>
      <p:sp>
        <p:nvSpPr>
          <p:cNvPr id="5" name="Date Placeholder 3">
            <a:extLst>
              <a:ext uri="{FF2B5EF4-FFF2-40B4-BE49-F238E27FC236}">
                <a16:creationId xmlns:a16="http://schemas.microsoft.com/office/drawing/2014/main" id="{A17653B9-C797-2AE1-5C7E-46C640CB6B69}"/>
              </a:ext>
            </a:extLst>
          </p:cNvPr>
          <p:cNvSpPr txBox="1">
            <a:spLocks/>
          </p:cNvSpPr>
          <p:nvPr userDrawn="1"/>
        </p:nvSpPr>
        <p:spPr>
          <a:xfrm>
            <a:off x="838200" y="64198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6" name="Rectangle 5">
            <a:extLst>
              <a:ext uri="{FF2B5EF4-FFF2-40B4-BE49-F238E27FC236}">
                <a16:creationId xmlns:a16="http://schemas.microsoft.com/office/drawing/2014/main" id="{54FE0070-55AB-21DE-6156-4D23EC657EEF}"/>
              </a:ext>
            </a:extLst>
          </p:cNvPr>
          <p:cNvSpPr/>
          <p:nvPr userDrawn="1"/>
        </p:nvSpPr>
        <p:spPr>
          <a:xfrm>
            <a:off x="236126" y="6506477"/>
            <a:ext cx="3124253" cy="230832"/>
          </a:xfrm>
          <a:prstGeom prst="rect">
            <a:avLst/>
          </a:prstGeom>
        </p:spPr>
        <p:txBody>
          <a:bodyPr wrap="none" lIns="0" rIns="0">
            <a:spAutoFit/>
          </a:bodyPr>
          <a:lstStyle/>
          <a:p>
            <a:pPr algn="l"/>
            <a:r>
              <a:rPr lang="en-US" sz="900" i="0" kern="1200" dirty="0">
                <a:solidFill>
                  <a:schemeClr val="bg2">
                    <a:lumMod val="50000"/>
                  </a:schemeClr>
                </a:solidFill>
                <a:latin typeface="Calibri" panose="020F0502020204030204" pitchFamily="34" charset="0"/>
                <a:ea typeface="+mn-ea"/>
                <a:cs typeface="+mn-cs"/>
              </a:rPr>
              <a:t>Copyright 2024 | Ingenious e-Brain Solutions | All Rights Reserved </a:t>
            </a:r>
            <a:endParaRPr lang="en-US" sz="2000" i="0" kern="1200" dirty="0">
              <a:solidFill>
                <a:schemeClr val="bg2">
                  <a:lumMod val="50000"/>
                </a:schemeClr>
              </a:solidFill>
              <a:latin typeface="Calibri" panose="020F0502020204030204" pitchFamily="34" charset="0"/>
              <a:ea typeface="+mn-ea"/>
              <a:cs typeface="+mn-cs"/>
            </a:endParaRPr>
          </a:p>
        </p:txBody>
      </p:sp>
      <p:sp>
        <p:nvSpPr>
          <p:cNvPr id="13" name="Oval 12">
            <a:extLst>
              <a:ext uri="{FF2B5EF4-FFF2-40B4-BE49-F238E27FC236}">
                <a16:creationId xmlns:a16="http://schemas.microsoft.com/office/drawing/2014/main" id="{EE660F21-FD8B-9DA7-99C5-836FCE5E0FBC}"/>
              </a:ext>
            </a:extLst>
          </p:cNvPr>
          <p:cNvSpPr/>
          <p:nvPr userDrawn="1"/>
        </p:nvSpPr>
        <p:spPr>
          <a:xfrm>
            <a:off x="11332368" y="6442944"/>
            <a:ext cx="331788" cy="342490"/>
          </a:xfrm>
          <a:prstGeom prst="ellipse">
            <a:avLst/>
          </a:prstGeom>
          <a:solidFill>
            <a:srgbClr val="041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a:p>
        </p:txBody>
      </p:sp>
      <p:sp>
        <p:nvSpPr>
          <p:cNvPr id="14" name="TextBox 13">
            <a:extLst>
              <a:ext uri="{FF2B5EF4-FFF2-40B4-BE49-F238E27FC236}">
                <a16:creationId xmlns:a16="http://schemas.microsoft.com/office/drawing/2014/main" id="{AC4B4BBA-A475-5BE0-8A19-9747AA73B214}"/>
              </a:ext>
            </a:extLst>
          </p:cNvPr>
          <p:cNvSpPr txBox="1"/>
          <p:nvPr userDrawn="1"/>
        </p:nvSpPr>
        <p:spPr>
          <a:xfrm>
            <a:off x="11375231" y="6537245"/>
            <a:ext cx="246062"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19DA9A17-D495-DACD-A51C-68AAE461A2D4}"/>
              </a:ext>
            </a:extLst>
          </p:cNvPr>
          <p:cNvCxnSpPr>
            <a:cxnSpLocks/>
          </p:cNvCxnSpPr>
          <p:nvPr userDrawn="1"/>
        </p:nvCxnSpPr>
        <p:spPr>
          <a:xfrm flipH="1">
            <a:off x="11757025" y="6614189"/>
            <a:ext cx="434977" cy="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198C215-E6E7-17AE-FC8D-7ED117ABC6BF}"/>
              </a:ext>
            </a:extLst>
          </p:cNvPr>
          <p:cNvSpPr/>
          <p:nvPr userDrawn="1"/>
        </p:nvSpPr>
        <p:spPr>
          <a:xfrm>
            <a:off x="11959771" y="6442944"/>
            <a:ext cx="232229" cy="478556"/>
          </a:xfrm>
          <a:prstGeom prst="rect">
            <a:avLst/>
          </a:prstGeom>
          <a:solidFill>
            <a:srgbClr val="6FD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7" name="Graphic 16">
            <a:extLst>
              <a:ext uri="{FF2B5EF4-FFF2-40B4-BE49-F238E27FC236}">
                <a16:creationId xmlns:a16="http://schemas.microsoft.com/office/drawing/2014/main" id="{E03EA14F-57ED-C675-3F70-6E26FCD8F2D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09842" y="6476356"/>
            <a:ext cx="1568315" cy="247629"/>
          </a:xfrm>
          <a:prstGeom prst="rect">
            <a:avLst/>
          </a:prstGeom>
        </p:spPr>
      </p:pic>
      <p:cxnSp>
        <p:nvCxnSpPr>
          <p:cNvPr id="18" name="Straight Connector 17">
            <a:extLst>
              <a:ext uri="{FF2B5EF4-FFF2-40B4-BE49-F238E27FC236}">
                <a16:creationId xmlns:a16="http://schemas.microsoft.com/office/drawing/2014/main" id="{023C51D7-8FBC-5B76-597A-23F661F8DA13}"/>
              </a:ext>
            </a:extLst>
          </p:cNvPr>
          <p:cNvCxnSpPr>
            <a:cxnSpLocks/>
          </p:cNvCxnSpPr>
          <p:nvPr userDrawn="1"/>
        </p:nvCxnSpPr>
        <p:spPr>
          <a:xfrm>
            <a:off x="3395870" y="6621893"/>
            <a:ext cx="5989430" cy="0"/>
          </a:xfrm>
          <a:prstGeom prst="line">
            <a:avLst/>
          </a:prstGeom>
          <a:ln>
            <a:solidFill>
              <a:srgbClr val="6FD5F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580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CE1F2-AA91-CD4D-2FF8-6170F05B396D}"/>
              </a:ext>
            </a:extLst>
          </p:cNvPr>
          <p:cNvSpPr>
            <a:spLocks noGrp="1"/>
          </p:cNvSpPr>
          <p:nvPr>
            <p:ph type="title"/>
          </p:nvPr>
        </p:nvSpPr>
        <p:spPr>
          <a:xfrm>
            <a:off x="1658984" y="352063"/>
            <a:ext cx="9694816" cy="1325563"/>
          </a:xfrm>
        </p:spPr>
        <p:txBody>
          <a:bodyPr/>
          <a:lstStyle>
            <a:lvl1pPr>
              <a:defRPr>
                <a:latin typeface="Raleway SemiBold" panose="020B0703030101060003" pitchFamily="34" charset="0"/>
              </a:defRPr>
            </a:lvl1pPr>
          </a:lstStyle>
          <a:p>
            <a:r>
              <a:rPr lang="en-US" dirty="0"/>
              <a:t>Click to edit Master title style</a:t>
            </a:r>
            <a:endParaRPr lang="en-IN" dirty="0"/>
          </a:p>
        </p:txBody>
      </p:sp>
      <p:sp>
        <p:nvSpPr>
          <p:cNvPr id="3" name="Content Placeholder 2">
            <a:extLst>
              <a:ext uri="{FF2B5EF4-FFF2-40B4-BE49-F238E27FC236}">
                <a16:creationId xmlns:a16="http://schemas.microsoft.com/office/drawing/2014/main" id="{78317DB6-AF88-D387-81B8-BD531606B17F}"/>
              </a:ext>
            </a:extLst>
          </p:cNvPr>
          <p:cNvSpPr>
            <a:spLocks noGrp="1"/>
          </p:cNvSpPr>
          <p:nvPr>
            <p:ph idx="1"/>
          </p:nvPr>
        </p:nvSpPr>
        <p:spPr>
          <a:xfrm>
            <a:off x="1658984" y="1825625"/>
            <a:ext cx="9694816" cy="4351338"/>
          </a:xfrm>
        </p:spPr>
        <p:txBody>
          <a:bodyPr/>
          <a:lstStyle>
            <a:lvl1pPr>
              <a:defRPr>
                <a:latin typeface="Raleway Medium" panose="020B0603030101060003" pitchFamily="34" charset="0"/>
              </a:defRPr>
            </a:lvl1pPr>
            <a:lvl2pPr>
              <a:defRPr>
                <a:latin typeface="Raleway Medium" panose="020B0603030101060003" pitchFamily="34" charset="0"/>
              </a:defRPr>
            </a:lvl2pPr>
            <a:lvl3pPr>
              <a:defRPr>
                <a:latin typeface="Raleway Medium" panose="020B0603030101060003" pitchFamily="34" charset="0"/>
              </a:defRPr>
            </a:lvl3pPr>
            <a:lvl4pPr>
              <a:defRPr>
                <a:latin typeface="Raleway Medium" panose="020B0603030101060003" pitchFamily="34" charset="0"/>
              </a:defRPr>
            </a:lvl4pPr>
            <a:lvl5pPr>
              <a:defRPr>
                <a:latin typeface="Raleway Medium" panose="020B06030301010600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2" name="TextBox 11">
            <a:extLst>
              <a:ext uri="{FF2B5EF4-FFF2-40B4-BE49-F238E27FC236}">
                <a16:creationId xmlns:a16="http://schemas.microsoft.com/office/drawing/2014/main" id="{C4B7E247-86D0-4F8B-BAD1-23F8F355437C}"/>
              </a:ext>
            </a:extLst>
          </p:cNvPr>
          <p:cNvSpPr txBox="1"/>
          <p:nvPr userDrawn="1"/>
        </p:nvSpPr>
        <p:spPr>
          <a:xfrm>
            <a:off x="11375231" y="6537245"/>
            <a:ext cx="246062" cy="153888"/>
          </a:xfrm>
          <a:prstGeom prst="rect">
            <a:avLst/>
          </a:prstGeom>
          <a:noFill/>
        </p:spPr>
        <p:txBody>
          <a:bodyPr wrap="square" lIns="0" tIns="0" rIns="0" bIns="0" rtlCol="0" anchor="ctr">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p:txBody>
      </p:sp>
      <p:cxnSp>
        <p:nvCxnSpPr>
          <p:cNvPr id="13" name="Straight Connector 12">
            <a:extLst>
              <a:ext uri="{FF2B5EF4-FFF2-40B4-BE49-F238E27FC236}">
                <a16:creationId xmlns:a16="http://schemas.microsoft.com/office/drawing/2014/main" id="{3B59EEAC-E548-200F-FF14-F0212BE15A0B}"/>
              </a:ext>
            </a:extLst>
          </p:cNvPr>
          <p:cNvCxnSpPr>
            <a:cxnSpLocks/>
          </p:cNvCxnSpPr>
          <p:nvPr userDrawn="1"/>
        </p:nvCxnSpPr>
        <p:spPr>
          <a:xfrm flipH="1">
            <a:off x="11757025" y="6614189"/>
            <a:ext cx="434977" cy="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A6D6060-AE87-0581-2953-51165D1CC68F}"/>
              </a:ext>
            </a:extLst>
          </p:cNvPr>
          <p:cNvSpPr/>
          <p:nvPr userDrawn="1"/>
        </p:nvSpPr>
        <p:spPr>
          <a:xfrm>
            <a:off x="11959771" y="6442944"/>
            <a:ext cx="232229" cy="478556"/>
          </a:xfrm>
          <a:prstGeom prst="rect">
            <a:avLst/>
          </a:prstGeom>
          <a:solidFill>
            <a:srgbClr val="6FD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211884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F6C33-41CD-B2C9-A9A0-413F9455550F}"/>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E394EBBD-EBDB-0009-42A4-F5597A1E06BF}"/>
              </a:ext>
            </a:extLst>
          </p:cNvPr>
          <p:cNvSpPr>
            <a:spLocks noGrp="1"/>
          </p:cNvSpPr>
          <p:nvPr>
            <p:ph type="dt" sz="half" idx="10"/>
          </p:nvPr>
        </p:nvSpPr>
        <p:spPr/>
        <p:txBody>
          <a:bodyPr/>
          <a:lstStyle/>
          <a:p>
            <a:fld id="{FF1125A6-8D7F-4670-81E9-B3B8892A956C}" type="datetimeFigureOut">
              <a:rPr lang="en-IN" smtClean="0"/>
              <a:t>03-01-2024</a:t>
            </a:fld>
            <a:endParaRPr lang="en-IN" dirty="0"/>
          </a:p>
        </p:txBody>
      </p:sp>
      <p:sp>
        <p:nvSpPr>
          <p:cNvPr id="4" name="Footer Placeholder 3">
            <a:extLst>
              <a:ext uri="{FF2B5EF4-FFF2-40B4-BE49-F238E27FC236}">
                <a16:creationId xmlns:a16="http://schemas.microsoft.com/office/drawing/2014/main" id="{7D748448-8895-C2E6-608F-0A1039A3A783}"/>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094DB56-AF63-4A27-C2A9-CF61B5CD427C}"/>
              </a:ext>
            </a:extLst>
          </p:cNvPr>
          <p:cNvSpPr>
            <a:spLocks noGrp="1"/>
          </p:cNvSpPr>
          <p:nvPr>
            <p:ph type="sldNum" sz="quarter" idx="12"/>
          </p:nvPr>
        </p:nvSpPr>
        <p:spPr/>
        <p:txBody>
          <a:bodyPr/>
          <a:lstStyle/>
          <a:p>
            <a:fld id="{FE9301C3-5C28-4195-B06A-EC354ACF53E7}" type="slidenum">
              <a:rPr lang="en-IN" smtClean="0"/>
              <a:t>‹#›</a:t>
            </a:fld>
            <a:endParaRPr lang="en-IN" dirty="0"/>
          </a:p>
        </p:txBody>
      </p:sp>
      <p:pic>
        <p:nvPicPr>
          <p:cNvPr id="6" name="Graphic 5">
            <a:extLst>
              <a:ext uri="{FF2B5EF4-FFF2-40B4-BE49-F238E27FC236}">
                <a16:creationId xmlns:a16="http://schemas.microsoft.com/office/drawing/2014/main" id="{67C55D5F-FCC1-51CB-24D6-CE5276675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970868"/>
          </a:xfrm>
          <a:prstGeom prst="rect">
            <a:avLst/>
          </a:prstGeom>
        </p:spPr>
      </p:pic>
      <p:pic>
        <p:nvPicPr>
          <p:cNvPr id="7" name="Graphic 6">
            <a:extLst>
              <a:ext uri="{FF2B5EF4-FFF2-40B4-BE49-F238E27FC236}">
                <a16:creationId xmlns:a16="http://schemas.microsoft.com/office/drawing/2014/main" id="{BA413829-4CA2-3FC9-1D41-F1A0ACCD32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9434286" y="-1"/>
            <a:ext cx="2550010" cy="594586"/>
          </a:xfrm>
          <a:prstGeom prst="rect">
            <a:avLst/>
          </a:prstGeom>
          <a:effectLst>
            <a:outerShdw blurRad="215900" dist="38100" dir="5400000" sx="97000" sy="97000" algn="t" rotWithShape="0">
              <a:prstClr val="black">
                <a:alpha val="18000"/>
              </a:prstClr>
            </a:outerShdw>
          </a:effectLst>
        </p:spPr>
      </p:pic>
      <p:sp>
        <p:nvSpPr>
          <p:cNvPr id="9" name="Rectangle 8">
            <a:extLst>
              <a:ext uri="{FF2B5EF4-FFF2-40B4-BE49-F238E27FC236}">
                <a16:creationId xmlns:a16="http://schemas.microsoft.com/office/drawing/2014/main" id="{8A430117-727C-31DC-2782-E595A101D623}"/>
              </a:ext>
            </a:extLst>
          </p:cNvPr>
          <p:cNvSpPr/>
          <p:nvPr userDrawn="1"/>
        </p:nvSpPr>
        <p:spPr>
          <a:xfrm>
            <a:off x="9016351" y="6564448"/>
            <a:ext cx="3023264" cy="230832"/>
          </a:xfrm>
          <a:prstGeom prst="rect">
            <a:avLst/>
          </a:prstGeom>
        </p:spPr>
        <p:txBody>
          <a:bodyPr wrap="none" lIns="0" rIns="0">
            <a:spAutoFit/>
          </a:bodyPr>
          <a:lstStyle/>
          <a:p>
            <a:pPr algn="l"/>
            <a:r>
              <a:rPr lang="en-US" sz="900" i="0" kern="1200" dirty="0">
                <a:solidFill>
                  <a:schemeClr val="bg2">
                    <a:lumMod val="50000"/>
                  </a:schemeClr>
                </a:solidFill>
                <a:latin typeface="Calibri" panose="020F0502020204030204" pitchFamily="34" charset="0"/>
                <a:ea typeface="+mn-ea"/>
                <a:cs typeface="+mn-cs"/>
              </a:rPr>
              <a:t>Copyright 2023 Ingenious e-Brain Solutions | All Rights Reserved </a:t>
            </a:r>
            <a:endParaRPr lang="en-US" sz="2000" i="0" kern="1200" dirty="0">
              <a:solidFill>
                <a:schemeClr val="bg2">
                  <a:lumMod val="50000"/>
                </a:schemeClr>
              </a:solidFill>
              <a:latin typeface="Calibri" panose="020F0502020204030204" pitchFamily="34" charset="0"/>
              <a:ea typeface="+mn-ea"/>
              <a:cs typeface="+mn-cs"/>
            </a:endParaRPr>
          </a:p>
        </p:txBody>
      </p:sp>
      <p:pic>
        <p:nvPicPr>
          <p:cNvPr id="10" name="Picture 9">
            <a:extLst>
              <a:ext uri="{FF2B5EF4-FFF2-40B4-BE49-F238E27FC236}">
                <a16:creationId xmlns:a16="http://schemas.microsoft.com/office/drawing/2014/main" id="{E354B8D7-9E44-1829-B926-C37C56490D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22493" y="98255"/>
            <a:ext cx="1981482" cy="469408"/>
          </a:xfrm>
          <a:prstGeom prst="rect">
            <a:avLst/>
          </a:prstGeom>
        </p:spPr>
      </p:pic>
    </p:spTree>
    <p:extLst>
      <p:ext uri="{BB962C8B-B14F-4D97-AF65-F5344CB8AC3E}">
        <p14:creationId xmlns:p14="http://schemas.microsoft.com/office/powerpoint/2010/main" val="3614385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20" name="Picture 2">
            <a:extLst>
              <a:ext uri="{FF2B5EF4-FFF2-40B4-BE49-F238E27FC236}">
                <a16:creationId xmlns:a16="http://schemas.microsoft.com/office/drawing/2014/main" id="{A3E00562-CA68-E7C7-86FC-291ACE40340F}"/>
              </a:ext>
            </a:extLst>
          </p:cNvPr>
          <p:cNvPicPr>
            <a:picLocks noChangeAspect="1" noChangeArrowheads="1"/>
          </p:cNvPicPr>
          <p:nvPr userDrawn="1"/>
        </p:nvPicPr>
        <p:blipFill rotWithShape="1">
          <a:blip r:embed="rId2">
            <a:clrChange>
              <a:clrFrom>
                <a:srgbClr val="000000">
                  <a:alpha val="0"/>
                </a:srgbClr>
              </a:clrFrom>
              <a:clrTo>
                <a:srgbClr val="000000">
                  <a:alpha val="0"/>
                </a:srgbClr>
              </a:clrTo>
            </a:clrChange>
            <a:extLst>
              <a:ext uri="{BEBA8EAE-BF5A-486C-A8C5-ECC9F3942E4B}">
                <a14:imgProps xmlns:a14="http://schemas.microsoft.com/office/drawing/2010/main">
                  <a14:imgLayer r:embed="rId3">
                    <a14:imgEffect>
                      <a14:colorTemperature colorTemp="7200"/>
                    </a14:imgEffect>
                    <a14:imgEffect>
                      <a14:saturation sat="66000"/>
                    </a14:imgEffect>
                  </a14:imgLayer>
                </a14:imgProps>
              </a:ext>
              <a:ext uri="{28A0092B-C50C-407E-A947-70E740481C1C}">
                <a14:useLocalDpi xmlns:a14="http://schemas.microsoft.com/office/drawing/2010/main" val="0"/>
              </a:ext>
            </a:extLst>
          </a:blip>
          <a:srcRect t="18248" b="34857"/>
          <a:stretch/>
        </p:blipFill>
        <p:spPr bwMode="auto">
          <a:xfrm>
            <a:off x="0" y="0"/>
            <a:ext cx="12192000" cy="3216058"/>
          </a:xfrm>
          <a:prstGeom prst="rect">
            <a:avLst/>
          </a:prstGeom>
          <a:noFill/>
        </p:spPr>
      </p:pic>
      <p:sp>
        <p:nvSpPr>
          <p:cNvPr id="21" name="Rectangle 20">
            <a:extLst>
              <a:ext uri="{FF2B5EF4-FFF2-40B4-BE49-F238E27FC236}">
                <a16:creationId xmlns:a16="http://schemas.microsoft.com/office/drawing/2014/main" id="{E534292F-EF00-39CE-FA7C-16D93B6177AC}"/>
              </a:ext>
            </a:extLst>
          </p:cNvPr>
          <p:cNvSpPr/>
          <p:nvPr userDrawn="1"/>
        </p:nvSpPr>
        <p:spPr>
          <a:xfrm rot="16200000">
            <a:off x="4487971" y="-4487972"/>
            <a:ext cx="3216058" cy="12192000"/>
          </a:xfrm>
          <a:prstGeom prst="rect">
            <a:avLst/>
          </a:prstGeom>
          <a:gradFill flip="none" rotWithShape="1">
            <a:gsLst>
              <a:gs pos="32000">
                <a:srgbClr val="043871">
                  <a:alpha val="94000"/>
                </a:srgbClr>
              </a:gs>
              <a:gs pos="100000">
                <a:srgbClr val="02346E">
                  <a:alpha val="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Date Placeholder 3">
            <a:extLst>
              <a:ext uri="{FF2B5EF4-FFF2-40B4-BE49-F238E27FC236}">
                <a16:creationId xmlns:a16="http://schemas.microsoft.com/office/drawing/2014/main" id="{53230DAB-4E9E-5845-1AB3-D611C8A8DFAA}"/>
              </a:ext>
            </a:extLst>
          </p:cNvPr>
          <p:cNvSpPr>
            <a:spLocks noGrp="1"/>
          </p:cNvSpPr>
          <p:nvPr>
            <p:ph type="dt" sz="half" idx="10"/>
          </p:nvPr>
        </p:nvSpPr>
        <p:spPr/>
        <p:txBody>
          <a:bodyPr/>
          <a:lstStyle/>
          <a:p>
            <a:fld id="{FF1125A6-8D7F-4670-81E9-B3B8892A956C}" type="datetimeFigureOut">
              <a:rPr lang="en-IN" smtClean="0"/>
              <a:t>03-01-2024</a:t>
            </a:fld>
            <a:endParaRPr lang="en-IN" dirty="0"/>
          </a:p>
        </p:txBody>
      </p:sp>
      <p:sp>
        <p:nvSpPr>
          <p:cNvPr id="5" name="Footer Placeholder 4">
            <a:extLst>
              <a:ext uri="{FF2B5EF4-FFF2-40B4-BE49-F238E27FC236}">
                <a16:creationId xmlns:a16="http://schemas.microsoft.com/office/drawing/2014/main" id="{D4320878-FEC4-F59D-D6CB-AB8525855073}"/>
              </a:ext>
            </a:extLst>
          </p:cNvPr>
          <p:cNvSpPr>
            <a:spLocks noGrp="1"/>
          </p:cNvSpPr>
          <p:nvPr>
            <p:ph type="ftr" sz="quarter" idx="11"/>
          </p:nvPr>
        </p:nvSpPr>
        <p:spPr/>
        <p:txBody>
          <a:bodyPr/>
          <a:lstStyle/>
          <a:p>
            <a:endParaRPr lang="en-IN" dirty="0"/>
          </a:p>
        </p:txBody>
      </p:sp>
      <p:sp>
        <p:nvSpPr>
          <p:cNvPr id="3" name="Rectangle 2">
            <a:extLst>
              <a:ext uri="{FF2B5EF4-FFF2-40B4-BE49-F238E27FC236}">
                <a16:creationId xmlns:a16="http://schemas.microsoft.com/office/drawing/2014/main" id="{ED409514-C5FF-EF58-3C3B-CBED18269F5B}"/>
              </a:ext>
            </a:extLst>
          </p:cNvPr>
          <p:cNvSpPr/>
          <p:nvPr userDrawn="1"/>
        </p:nvSpPr>
        <p:spPr>
          <a:xfrm>
            <a:off x="9016351" y="6564448"/>
            <a:ext cx="3023264" cy="230832"/>
          </a:xfrm>
          <a:prstGeom prst="rect">
            <a:avLst/>
          </a:prstGeom>
        </p:spPr>
        <p:txBody>
          <a:bodyPr wrap="none" lIns="0" rIns="0">
            <a:spAutoFit/>
          </a:bodyPr>
          <a:lstStyle/>
          <a:p>
            <a:pPr algn="l"/>
            <a:r>
              <a:rPr lang="en-US" sz="900" i="0" kern="1200" dirty="0">
                <a:solidFill>
                  <a:schemeClr val="bg2">
                    <a:lumMod val="50000"/>
                  </a:schemeClr>
                </a:solidFill>
                <a:latin typeface="Calibri" panose="020F0502020204030204" pitchFamily="34" charset="0"/>
                <a:ea typeface="+mn-ea"/>
                <a:cs typeface="+mn-cs"/>
              </a:rPr>
              <a:t>Copyright 2023 Ingenious e-Brain Solutions | All Rights Reserved </a:t>
            </a:r>
            <a:endParaRPr lang="en-US" sz="2000" i="0" kern="1200" dirty="0">
              <a:solidFill>
                <a:schemeClr val="bg2">
                  <a:lumMod val="50000"/>
                </a:schemeClr>
              </a:solidFill>
              <a:latin typeface="Calibri" panose="020F0502020204030204" pitchFamily="34" charset="0"/>
              <a:ea typeface="+mn-ea"/>
              <a:cs typeface="+mn-cs"/>
            </a:endParaRPr>
          </a:p>
        </p:txBody>
      </p:sp>
      <p:pic>
        <p:nvPicPr>
          <p:cNvPr id="2" name="Graphic 1">
            <a:extLst>
              <a:ext uri="{FF2B5EF4-FFF2-40B4-BE49-F238E27FC236}">
                <a16:creationId xmlns:a16="http://schemas.microsoft.com/office/drawing/2014/main" id="{9BEBC373-223B-4583-F8AA-F58ABA70FF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9492342" y="-1"/>
            <a:ext cx="2491953" cy="594586"/>
          </a:xfrm>
          <a:prstGeom prst="rect">
            <a:avLst/>
          </a:prstGeom>
          <a:effectLst>
            <a:outerShdw blurRad="215900" dist="38100" dir="5400000" sx="97000" sy="97000" algn="t" rotWithShape="0">
              <a:prstClr val="black">
                <a:alpha val="18000"/>
              </a:prstClr>
            </a:outerShdw>
          </a:effectLst>
        </p:spPr>
      </p:pic>
      <p:pic>
        <p:nvPicPr>
          <p:cNvPr id="6" name="Picture 5">
            <a:extLst>
              <a:ext uri="{FF2B5EF4-FFF2-40B4-BE49-F238E27FC236}">
                <a16:creationId xmlns:a16="http://schemas.microsoft.com/office/drawing/2014/main" id="{64991D7A-FAF8-6954-521F-9CE9658DE9F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22493" y="98255"/>
            <a:ext cx="1981482" cy="469408"/>
          </a:xfrm>
          <a:prstGeom prst="rect">
            <a:avLst/>
          </a:prstGeom>
        </p:spPr>
      </p:pic>
    </p:spTree>
    <p:extLst>
      <p:ext uri="{BB962C8B-B14F-4D97-AF65-F5344CB8AC3E}">
        <p14:creationId xmlns:p14="http://schemas.microsoft.com/office/powerpoint/2010/main" val="30420237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959BA5E0-6CBF-B75F-45FC-25B3E47BE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5418" r="23703"/>
          <a:stretch/>
        </p:blipFill>
        <p:spPr bwMode="auto">
          <a:xfrm>
            <a:off x="6960528" y="0"/>
            <a:ext cx="523147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6DD1627-8E02-E319-FB28-0286550A1960}"/>
              </a:ext>
            </a:extLst>
          </p:cNvPr>
          <p:cNvSpPr/>
          <p:nvPr userDrawn="1"/>
        </p:nvSpPr>
        <p:spPr>
          <a:xfrm>
            <a:off x="-1" y="0"/>
            <a:ext cx="4881898" cy="6858000"/>
          </a:xfrm>
          <a:prstGeom prst="rect">
            <a:avLst/>
          </a:prstGeom>
          <a:gradFill flip="none" rotWithShape="1">
            <a:gsLst>
              <a:gs pos="12000">
                <a:srgbClr val="004986"/>
              </a:gs>
              <a:gs pos="50000">
                <a:srgbClr val="00417E"/>
              </a:gs>
              <a:gs pos="100000">
                <a:srgbClr val="004F8A">
                  <a:alpha val="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Rectangle 27">
            <a:extLst>
              <a:ext uri="{FF2B5EF4-FFF2-40B4-BE49-F238E27FC236}">
                <a16:creationId xmlns:a16="http://schemas.microsoft.com/office/drawing/2014/main" id="{6DAE0A44-FF8D-B0B6-4EAC-94677A1EE5FF}"/>
              </a:ext>
            </a:extLst>
          </p:cNvPr>
          <p:cNvSpPr/>
          <p:nvPr userDrawn="1"/>
        </p:nvSpPr>
        <p:spPr>
          <a:xfrm>
            <a:off x="-2" y="0"/>
            <a:ext cx="704734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Content Placeholder 32">
            <a:extLst>
              <a:ext uri="{FF2B5EF4-FFF2-40B4-BE49-F238E27FC236}">
                <a16:creationId xmlns:a16="http://schemas.microsoft.com/office/drawing/2014/main" id="{92BA9DE9-C56F-D551-FD58-817DCC304111}"/>
              </a:ext>
            </a:extLst>
          </p:cNvPr>
          <p:cNvSpPr txBox="1">
            <a:spLocks/>
          </p:cNvSpPr>
          <p:nvPr userDrawn="1"/>
        </p:nvSpPr>
        <p:spPr>
          <a:xfrm>
            <a:off x="429097" y="5416505"/>
            <a:ext cx="6102333" cy="11836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IN" sz="1050" dirty="0">
                <a:solidFill>
                  <a:schemeClr val="tx1">
                    <a:lumMod val="65000"/>
                    <a:lumOff val="35000"/>
                  </a:schemeClr>
                </a:solidFill>
                <a:latin typeface="Raleway Medium" panose="020B0603030101060003" pitchFamily="34" charset="0"/>
              </a:rPr>
              <a:t>Information provided in this document is for information purposes only. Ingenious e-Brain Solutions is not by means of this presentation rendering any professional advice or services. Under no circumstances will Ingenious e-Brain Solutions or its personnel be liable or responsible for any direct, indirect, incidental, consequential, special, exemplary, punitive, or other damages, arising out of or in any way relating to the information contained herein or its interpretation thereof.</a:t>
            </a:r>
          </a:p>
        </p:txBody>
      </p:sp>
      <p:sp>
        <p:nvSpPr>
          <p:cNvPr id="9" name="Oval 8">
            <a:extLst>
              <a:ext uri="{FF2B5EF4-FFF2-40B4-BE49-F238E27FC236}">
                <a16:creationId xmlns:a16="http://schemas.microsoft.com/office/drawing/2014/main" id="{9654C321-117E-6069-C91A-B2FD5AE78F84}"/>
              </a:ext>
            </a:extLst>
          </p:cNvPr>
          <p:cNvSpPr/>
          <p:nvPr userDrawn="1"/>
        </p:nvSpPr>
        <p:spPr>
          <a:xfrm>
            <a:off x="11398233" y="6070600"/>
            <a:ext cx="443822" cy="4438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object 7">
            <a:extLst>
              <a:ext uri="{FF2B5EF4-FFF2-40B4-BE49-F238E27FC236}">
                <a16:creationId xmlns:a16="http://schemas.microsoft.com/office/drawing/2014/main" id="{909404C4-B518-FFE8-B64F-2454F1A548D9}"/>
              </a:ext>
            </a:extLst>
          </p:cNvPr>
          <p:cNvSpPr txBox="1"/>
          <p:nvPr userDrawn="1"/>
        </p:nvSpPr>
        <p:spPr>
          <a:xfrm>
            <a:off x="1106609" y="3867651"/>
            <a:ext cx="1906566" cy="424451"/>
          </a:xfrm>
          <a:prstGeom prst="rect">
            <a:avLst/>
          </a:prstGeom>
          <a:effectLst/>
        </p:spPr>
        <p:txBody>
          <a:bodyPr wrap="square" lIns="0" tIns="0" rIns="0" bIns="0" rtlCol="0">
            <a:noAutofit/>
          </a:bodyPr>
          <a:lstStyle/>
          <a:p>
            <a:pPr marL="12724" algn="l">
              <a:lnSpc>
                <a:spcPts val="1553"/>
              </a:lnSpc>
              <a:spcBef>
                <a:spcPts val="77"/>
              </a:spcBef>
            </a:pP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se</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r</a:t>
            </a: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vi</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c</a:t>
            </a: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es@ie</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b</a:t>
            </a:r>
            <a:r>
              <a:rPr sz="1200" spc="-25"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r</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a</a:t>
            </a: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in.com</a:t>
            </a:r>
            <a:endParaRPr lang="en-US" sz="1200" dirty="0">
              <a:solidFill>
                <a:schemeClr val="tx1">
                  <a:lumMod val="65000"/>
                  <a:lumOff val="35000"/>
                </a:schemeClr>
              </a:solidFill>
              <a:latin typeface="Verdana"/>
              <a:cs typeface="Verdana"/>
            </a:endParaRPr>
          </a:p>
          <a:p>
            <a:pPr marL="12724" algn="l">
              <a:lnSpc>
                <a:spcPts val="1553"/>
              </a:lnSpc>
              <a:spcBef>
                <a:spcPts val="77"/>
              </a:spcBef>
            </a:pPr>
            <a:r>
              <a:rPr lang="en-IN" sz="1200"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ww</a:t>
            </a:r>
            <a:r>
              <a:rPr lang="en-IN" sz="1200" spc="-44"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w</a:t>
            </a:r>
            <a:r>
              <a:rPr lang="en-IN" sz="1200"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ieb</a:t>
            </a:r>
            <a:r>
              <a:rPr lang="en-IN" sz="1200" spc="-25"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r</a:t>
            </a:r>
            <a:r>
              <a:rPr lang="en-IN" sz="1200" spc="4"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a</a:t>
            </a:r>
            <a:r>
              <a:rPr lang="en-IN" sz="1200"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in.com</a:t>
            </a:r>
            <a:endParaRPr sz="1200" dirty="0">
              <a:solidFill>
                <a:schemeClr val="tx1">
                  <a:lumMod val="65000"/>
                  <a:lumOff val="35000"/>
                </a:schemeClr>
              </a:solidFill>
              <a:latin typeface="Verdana"/>
              <a:cs typeface="Verdana"/>
            </a:endParaRPr>
          </a:p>
        </p:txBody>
      </p:sp>
      <p:sp>
        <p:nvSpPr>
          <p:cNvPr id="3" name="object 14">
            <a:extLst>
              <a:ext uri="{FF2B5EF4-FFF2-40B4-BE49-F238E27FC236}">
                <a16:creationId xmlns:a16="http://schemas.microsoft.com/office/drawing/2014/main" id="{73E223F4-D012-4DE1-5930-4833BF1B492C}"/>
              </a:ext>
            </a:extLst>
          </p:cNvPr>
          <p:cNvSpPr/>
          <p:nvPr userDrawn="1"/>
        </p:nvSpPr>
        <p:spPr>
          <a:xfrm>
            <a:off x="579703" y="2148525"/>
            <a:ext cx="95148" cy="203625"/>
          </a:xfrm>
          <a:custGeom>
            <a:avLst/>
            <a:gdLst/>
            <a:ahLst/>
            <a:cxnLst/>
            <a:rect l="l" t="t" r="r" b="b"/>
            <a:pathLst>
              <a:path w="129004" h="250978">
                <a:moveTo>
                  <a:pt x="129004" y="0"/>
                </a:moveTo>
                <a:lnTo>
                  <a:pt x="125638" y="3571"/>
                </a:lnTo>
                <a:lnTo>
                  <a:pt x="82333" y="3441"/>
                </a:lnTo>
                <a:lnTo>
                  <a:pt x="84608" y="9172"/>
                </a:lnTo>
                <a:lnTo>
                  <a:pt x="118815" y="18150"/>
                </a:lnTo>
                <a:lnTo>
                  <a:pt x="118177" y="22774"/>
                </a:lnTo>
                <a:lnTo>
                  <a:pt x="118542" y="27594"/>
                </a:lnTo>
                <a:lnTo>
                  <a:pt x="120088" y="32479"/>
                </a:lnTo>
                <a:lnTo>
                  <a:pt x="121362" y="36572"/>
                </a:lnTo>
                <a:lnTo>
                  <a:pt x="123182" y="40024"/>
                </a:lnTo>
                <a:lnTo>
                  <a:pt x="125911" y="42694"/>
                </a:lnTo>
                <a:lnTo>
                  <a:pt x="129004" y="0"/>
                </a:lnTo>
                <a:close/>
              </a:path>
              <a:path w="129004" h="250978">
                <a:moveTo>
                  <a:pt x="320329" y="565931"/>
                </a:moveTo>
                <a:lnTo>
                  <a:pt x="296946" y="565931"/>
                </a:lnTo>
                <a:lnTo>
                  <a:pt x="287660" y="490951"/>
                </a:lnTo>
                <a:lnTo>
                  <a:pt x="300954" y="483771"/>
                </a:lnTo>
                <a:lnTo>
                  <a:pt x="306239" y="473342"/>
                </a:lnTo>
                <a:lnTo>
                  <a:pt x="306597" y="460750"/>
                </a:lnTo>
                <a:lnTo>
                  <a:pt x="306076" y="448247"/>
                </a:lnTo>
                <a:lnTo>
                  <a:pt x="305182" y="435589"/>
                </a:lnTo>
                <a:lnTo>
                  <a:pt x="303926" y="422944"/>
                </a:lnTo>
                <a:lnTo>
                  <a:pt x="302318" y="410305"/>
                </a:lnTo>
                <a:lnTo>
                  <a:pt x="308053" y="408285"/>
                </a:lnTo>
                <a:lnTo>
                  <a:pt x="311407" y="406082"/>
                </a:lnTo>
                <a:lnTo>
                  <a:pt x="312317" y="401913"/>
                </a:lnTo>
                <a:lnTo>
                  <a:pt x="310542" y="390312"/>
                </a:lnTo>
                <a:lnTo>
                  <a:pt x="308589" y="377806"/>
                </a:lnTo>
                <a:lnTo>
                  <a:pt x="306577" y="365268"/>
                </a:lnTo>
                <a:lnTo>
                  <a:pt x="304494" y="352715"/>
                </a:lnTo>
                <a:lnTo>
                  <a:pt x="302329" y="340160"/>
                </a:lnTo>
                <a:lnTo>
                  <a:pt x="300069" y="327621"/>
                </a:lnTo>
                <a:lnTo>
                  <a:pt x="297702" y="315113"/>
                </a:lnTo>
                <a:lnTo>
                  <a:pt x="295217" y="302651"/>
                </a:lnTo>
                <a:lnTo>
                  <a:pt x="309810" y="296353"/>
                </a:lnTo>
                <a:lnTo>
                  <a:pt x="320902" y="288623"/>
                </a:lnTo>
                <a:lnTo>
                  <a:pt x="328190" y="279413"/>
                </a:lnTo>
                <a:lnTo>
                  <a:pt x="331782" y="268531"/>
                </a:lnTo>
                <a:lnTo>
                  <a:pt x="331784" y="255787"/>
                </a:lnTo>
                <a:lnTo>
                  <a:pt x="340342" y="243032"/>
                </a:lnTo>
                <a:lnTo>
                  <a:pt x="354906" y="239377"/>
                </a:lnTo>
                <a:lnTo>
                  <a:pt x="364453" y="232622"/>
                </a:lnTo>
                <a:lnTo>
                  <a:pt x="367912" y="229821"/>
                </a:lnTo>
                <a:lnTo>
                  <a:pt x="371007" y="226695"/>
                </a:lnTo>
                <a:lnTo>
                  <a:pt x="373632" y="223308"/>
                </a:lnTo>
                <a:lnTo>
                  <a:pt x="377638" y="218238"/>
                </a:lnTo>
                <a:lnTo>
                  <a:pt x="384375" y="208859"/>
                </a:lnTo>
                <a:lnTo>
                  <a:pt x="384011" y="203203"/>
                </a:lnTo>
                <a:lnTo>
                  <a:pt x="379277" y="195974"/>
                </a:lnTo>
                <a:lnTo>
                  <a:pt x="391471" y="182543"/>
                </a:lnTo>
                <a:lnTo>
                  <a:pt x="391471" y="182265"/>
                </a:lnTo>
                <a:lnTo>
                  <a:pt x="383556" y="168119"/>
                </a:lnTo>
                <a:lnTo>
                  <a:pt x="319418" y="152172"/>
                </a:lnTo>
                <a:lnTo>
                  <a:pt x="301772" y="172548"/>
                </a:lnTo>
                <a:lnTo>
                  <a:pt x="300140" y="171153"/>
                </a:lnTo>
                <a:lnTo>
                  <a:pt x="289229" y="164144"/>
                </a:lnTo>
                <a:lnTo>
                  <a:pt x="277843" y="159195"/>
                </a:lnTo>
                <a:lnTo>
                  <a:pt x="278481" y="154191"/>
                </a:lnTo>
                <a:lnTo>
                  <a:pt x="277297" y="150218"/>
                </a:lnTo>
                <a:lnTo>
                  <a:pt x="273109" y="145203"/>
                </a:lnTo>
                <a:lnTo>
                  <a:pt x="273651" y="136039"/>
                </a:lnTo>
                <a:lnTo>
                  <a:pt x="270486" y="123317"/>
                </a:lnTo>
                <a:lnTo>
                  <a:pt x="263362" y="112694"/>
                </a:lnTo>
                <a:lnTo>
                  <a:pt x="253198" y="105148"/>
                </a:lnTo>
                <a:lnTo>
                  <a:pt x="240911" y="101661"/>
                </a:lnTo>
                <a:lnTo>
                  <a:pt x="236086" y="96646"/>
                </a:lnTo>
                <a:lnTo>
                  <a:pt x="227984" y="94638"/>
                </a:lnTo>
                <a:lnTo>
                  <a:pt x="219987" y="93596"/>
                </a:lnTo>
                <a:lnTo>
                  <a:pt x="218440" y="85324"/>
                </a:lnTo>
                <a:lnTo>
                  <a:pt x="216801" y="80764"/>
                </a:lnTo>
                <a:lnTo>
                  <a:pt x="211065" y="77388"/>
                </a:lnTo>
                <a:lnTo>
                  <a:pt x="215526" y="75109"/>
                </a:lnTo>
                <a:lnTo>
                  <a:pt x="218531" y="71917"/>
                </a:lnTo>
                <a:lnTo>
                  <a:pt x="218167" y="67944"/>
                </a:lnTo>
                <a:lnTo>
                  <a:pt x="215915" y="55026"/>
                </a:lnTo>
                <a:lnTo>
                  <a:pt x="211976" y="42694"/>
                </a:lnTo>
                <a:lnTo>
                  <a:pt x="215617" y="39242"/>
                </a:lnTo>
                <a:lnTo>
                  <a:pt x="217620" y="33771"/>
                </a:lnTo>
                <a:lnTo>
                  <a:pt x="215617" y="26943"/>
                </a:lnTo>
                <a:lnTo>
                  <a:pt x="218986" y="25705"/>
                </a:lnTo>
                <a:lnTo>
                  <a:pt x="219168" y="23165"/>
                </a:lnTo>
                <a:lnTo>
                  <a:pt x="218531" y="20430"/>
                </a:lnTo>
                <a:lnTo>
                  <a:pt x="218258" y="18085"/>
                </a:lnTo>
                <a:lnTo>
                  <a:pt x="273655" y="5525"/>
                </a:lnTo>
                <a:lnTo>
                  <a:pt x="211703" y="3441"/>
                </a:lnTo>
                <a:lnTo>
                  <a:pt x="210701" y="2268"/>
                </a:lnTo>
                <a:lnTo>
                  <a:pt x="207970" y="-260"/>
                </a:lnTo>
                <a:lnTo>
                  <a:pt x="236997" y="-36648"/>
                </a:lnTo>
                <a:lnTo>
                  <a:pt x="192508" y="-9053"/>
                </a:lnTo>
                <a:lnTo>
                  <a:pt x="188867" y="-10421"/>
                </a:lnTo>
                <a:lnTo>
                  <a:pt x="185043" y="-11463"/>
                </a:lnTo>
                <a:lnTo>
                  <a:pt x="181128" y="-12179"/>
                </a:lnTo>
                <a:lnTo>
                  <a:pt x="168853" y="-58977"/>
                </a:lnTo>
                <a:lnTo>
                  <a:pt x="159840" y="-12831"/>
                </a:lnTo>
                <a:lnTo>
                  <a:pt x="155121" y="-12244"/>
                </a:lnTo>
                <a:lnTo>
                  <a:pt x="150387" y="-11202"/>
                </a:lnTo>
                <a:lnTo>
                  <a:pt x="145926" y="-9574"/>
                </a:lnTo>
                <a:lnTo>
                  <a:pt x="99801" y="-36322"/>
                </a:lnTo>
                <a:lnTo>
                  <a:pt x="131096" y="-1628"/>
                </a:lnTo>
                <a:lnTo>
                  <a:pt x="129004" y="0"/>
                </a:lnTo>
                <a:lnTo>
                  <a:pt x="125911" y="42694"/>
                </a:lnTo>
                <a:lnTo>
                  <a:pt x="120543" y="57599"/>
                </a:lnTo>
                <a:lnTo>
                  <a:pt x="112537" y="52323"/>
                </a:lnTo>
                <a:lnTo>
                  <a:pt x="108899" y="51737"/>
                </a:lnTo>
                <a:lnTo>
                  <a:pt x="103349" y="49001"/>
                </a:lnTo>
                <a:lnTo>
                  <a:pt x="105630" y="41236"/>
                </a:lnTo>
                <a:lnTo>
                  <a:pt x="106104" y="31112"/>
                </a:lnTo>
                <a:lnTo>
                  <a:pt x="101171" y="25113"/>
                </a:lnTo>
                <a:lnTo>
                  <a:pt x="91431" y="17889"/>
                </a:lnTo>
                <a:lnTo>
                  <a:pt x="88155" y="15295"/>
                </a:lnTo>
                <a:lnTo>
                  <a:pt x="86518" y="13406"/>
                </a:lnTo>
                <a:lnTo>
                  <a:pt x="84608" y="9172"/>
                </a:lnTo>
                <a:lnTo>
                  <a:pt x="82333" y="3441"/>
                </a:lnTo>
                <a:lnTo>
                  <a:pt x="80846" y="-9857"/>
                </a:lnTo>
                <a:lnTo>
                  <a:pt x="78135" y="-22225"/>
                </a:lnTo>
                <a:lnTo>
                  <a:pt x="74237" y="-34498"/>
                </a:lnTo>
                <a:lnTo>
                  <a:pt x="71052" y="-43291"/>
                </a:lnTo>
                <a:lnTo>
                  <a:pt x="69233" y="-47644"/>
                </a:lnTo>
                <a:lnTo>
                  <a:pt x="68140" y="-56893"/>
                </a:lnTo>
                <a:lnTo>
                  <a:pt x="67483" y="-62610"/>
                </a:lnTo>
                <a:lnTo>
                  <a:pt x="65946" y="-75152"/>
                </a:lnTo>
                <a:lnTo>
                  <a:pt x="63500" y="-87614"/>
                </a:lnTo>
                <a:lnTo>
                  <a:pt x="66270" y="-95780"/>
                </a:lnTo>
                <a:lnTo>
                  <a:pt x="65812" y="-106878"/>
                </a:lnTo>
                <a:lnTo>
                  <a:pt x="60481" y="-116489"/>
                </a:lnTo>
                <a:lnTo>
                  <a:pt x="51219" y="-124903"/>
                </a:lnTo>
                <a:lnTo>
                  <a:pt x="49946" y="-126987"/>
                </a:lnTo>
                <a:lnTo>
                  <a:pt x="46943" y="-131025"/>
                </a:lnTo>
                <a:lnTo>
                  <a:pt x="54313" y="-146516"/>
                </a:lnTo>
                <a:lnTo>
                  <a:pt x="72054" y="-146516"/>
                </a:lnTo>
                <a:lnTo>
                  <a:pt x="72054" y="-164938"/>
                </a:lnTo>
                <a:lnTo>
                  <a:pt x="49127" y="-164938"/>
                </a:lnTo>
                <a:lnTo>
                  <a:pt x="49127" y="-170138"/>
                </a:lnTo>
                <a:lnTo>
                  <a:pt x="53585" y="-172613"/>
                </a:lnTo>
                <a:lnTo>
                  <a:pt x="56405" y="-176781"/>
                </a:lnTo>
                <a:lnTo>
                  <a:pt x="55677" y="-182773"/>
                </a:lnTo>
                <a:lnTo>
                  <a:pt x="55313" y="-185172"/>
                </a:lnTo>
                <a:lnTo>
                  <a:pt x="53585" y="-190057"/>
                </a:lnTo>
                <a:lnTo>
                  <a:pt x="51401" y="-194812"/>
                </a:lnTo>
                <a:lnTo>
                  <a:pt x="48127" y="-199371"/>
                </a:lnTo>
                <a:lnTo>
                  <a:pt x="44487" y="-203594"/>
                </a:lnTo>
                <a:lnTo>
                  <a:pt x="39847" y="-200088"/>
                </a:lnTo>
                <a:lnTo>
                  <a:pt x="37936" y="-191751"/>
                </a:lnTo>
                <a:lnTo>
                  <a:pt x="37936" y="-185433"/>
                </a:lnTo>
                <a:lnTo>
                  <a:pt x="36677" y="-189964"/>
                </a:lnTo>
                <a:lnTo>
                  <a:pt x="29909" y="-202021"/>
                </a:lnTo>
                <a:lnTo>
                  <a:pt x="19742" y="-208284"/>
                </a:lnTo>
                <a:lnTo>
                  <a:pt x="21607" y="-203837"/>
                </a:lnTo>
                <a:lnTo>
                  <a:pt x="21153" y="-192077"/>
                </a:lnTo>
                <a:lnTo>
                  <a:pt x="16921" y="-182513"/>
                </a:lnTo>
                <a:lnTo>
                  <a:pt x="14465" y="-177042"/>
                </a:lnTo>
                <a:lnTo>
                  <a:pt x="17376" y="-172743"/>
                </a:lnTo>
                <a:lnTo>
                  <a:pt x="22470" y="-170073"/>
                </a:lnTo>
                <a:lnTo>
                  <a:pt x="22470" y="-164873"/>
                </a:lnTo>
                <a:lnTo>
                  <a:pt x="0" y="-164873"/>
                </a:lnTo>
                <a:lnTo>
                  <a:pt x="0" y="-147298"/>
                </a:lnTo>
                <a:lnTo>
                  <a:pt x="18376" y="-147298"/>
                </a:lnTo>
                <a:lnTo>
                  <a:pt x="16648" y="-132979"/>
                </a:lnTo>
                <a:lnTo>
                  <a:pt x="12736" y="-129983"/>
                </a:lnTo>
                <a:lnTo>
                  <a:pt x="12008" y="-126336"/>
                </a:lnTo>
                <a:lnTo>
                  <a:pt x="12645" y="-122373"/>
                </a:lnTo>
                <a:lnTo>
                  <a:pt x="11644" y="-116967"/>
                </a:lnTo>
                <a:lnTo>
                  <a:pt x="12736" y="-112148"/>
                </a:lnTo>
                <a:lnTo>
                  <a:pt x="14920" y="-107653"/>
                </a:lnTo>
                <a:lnTo>
                  <a:pt x="16830" y="-101802"/>
                </a:lnTo>
                <a:lnTo>
                  <a:pt x="19196" y="-97373"/>
                </a:lnTo>
                <a:lnTo>
                  <a:pt x="22470" y="-95680"/>
                </a:lnTo>
                <a:lnTo>
                  <a:pt x="22470" y="-88852"/>
                </a:lnTo>
                <a:lnTo>
                  <a:pt x="25200" y="-88852"/>
                </a:lnTo>
                <a:lnTo>
                  <a:pt x="25291" y="-86246"/>
                </a:lnTo>
                <a:lnTo>
                  <a:pt x="25152" y="-82717"/>
                </a:lnTo>
                <a:lnTo>
                  <a:pt x="24408" y="-71101"/>
                </a:lnTo>
                <a:lnTo>
                  <a:pt x="30568" y="-60986"/>
                </a:lnTo>
                <a:lnTo>
                  <a:pt x="30005" y="-46217"/>
                </a:lnTo>
                <a:lnTo>
                  <a:pt x="30187" y="-32364"/>
                </a:lnTo>
                <a:lnTo>
                  <a:pt x="31531" y="-19824"/>
                </a:lnTo>
                <a:lnTo>
                  <a:pt x="34437" y="-8633"/>
                </a:lnTo>
                <a:lnTo>
                  <a:pt x="39302" y="1172"/>
                </a:lnTo>
                <a:lnTo>
                  <a:pt x="39171" y="14145"/>
                </a:lnTo>
                <a:lnTo>
                  <a:pt x="43305" y="26096"/>
                </a:lnTo>
                <a:lnTo>
                  <a:pt x="42320" y="27209"/>
                </a:lnTo>
                <a:lnTo>
                  <a:pt x="34698" y="37228"/>
                </a:lnTo>
                <a:lnTo>
                  <a:pt x="28294" y="48426"/>
                </a:lnTo>
                <a:lnTo>
                  <a:pt x="24680" y="56396"/>
                </a:lnTo>
                <a:lnTo>
                  <a:pt x="21276" y="66297"/>
                </a:lnTo>
                <a:lnTo>
                  <a:pt x="19533" y="76974"/>
                </a:lnTo>
                <a:lnTo>
                  <a:pt x="21217" y="86628"/>
                </a:lnTo>
                <a:lnTo>
                  <a:pt x="28097" y="93460"/>
                </a:lnTo>
                <a:lnTo>
                  <a:pt x="41939" y="95669"/>
                </a:lnTo>
                <a:lnTo>
                  <a:pt x="39756" y="101401"/>
                </a:lnTo>
                <a:lnTo>
                  <a:pt x="37663" y="106025"/>
                </a:lnTo>
                <a:lnTo>
                  <a:pt x="42212" y="109933"/>
                </a:lnTo>
                <a:lnTo>
                  <a:pt x="44760" y="114351"/>
                </a:lnTo>
                <a:lnTo>
                  <a:pt x="48307" y="117803"/>
                </a:lnTo>
                <a:lnTo>
                  <a:pt x="53676" y="119366"/>
                </a:lnTo>
                <a:lnTo>
                  <a:pt x="49939" y="131569"/>
                </a:lnTo>
                <a:lnTo>
                  <a:pt x="51401" y="143509"/>
                </a:lnTo>
                <a:lnTo>
                  <a:pt x="48899" y="151096"/>
                </a:lnTo>
                <a:lnTo>
                  <a:pt x="51730" y="160719"/>
                </a:lnTo>
                <a:lnTo>
                  <a:pt x="63956" y="167272"/>
                </a:lnTo>
                <a:lnTo>
                  <a:pt x="63138" y="179506"/>
                </a:lnTo>
                <a:lnTo>
                  <a:pt x="66776" y="184195"/>
                </a:lnTo>
                <a:lnTo>
                  <a:pt x="73144" y="184065"/>
                </a:lnTo>
                <a:lnTo>
                  <a:pt x="54222" y="214721"/>
                </a:lnTo>
                <a:lnTo>
                  <a:pt x="51418" y="221287"/>
                </a:lnTo>
                <a:lnTo>
                  <a:pt x="46531" y="236353"/>
                </a:lnTo>
                <a:lnTo>
                  <a:pt x="45615" y="247748"/>
                </a:lnTo>
                <a:lnTo>
                  <a:pt x="48906" y="255380"/>
                </a:lnTo>
                <a:lnTo>
                  <a:pt x="56639" y="259154"/>
                </a:lnTo>
                <a:lnTo>
                  <a:pt x="69051" y="258979"/>
                </a:lnTo>
                <a:lnTo>
                  <a:pt x="67434" y="261969"/>
                </a:lnTo>
                <a:lnTo>
                  <a:pt x="60581" y="276133"/>
                </a:lnTo>
                <a:lnTo>
                  <a:pt x="55869" y="289091"/>
                </a:lnTo>
                <a:lnTo>
                  <a:pt x="53519" y="300801"/>
                </a:lnTo>
                <a:lnTo>
                  <a:pt x="53753" y="311223"/>
                </a:lnTo>
                <a:lnTo>
                  <a:pt x="56794" y="320317"/>
                </a:lnTo>
                <a:lnTo>
                  <a:pt x="62865" y="328042"/>
                </a:lnTo>
                <a:lnTo>
                  <a:pt x="67687" y="409653"/>
                </a:lnTo>
                <a:lnTo>
                  <a:pt x="65669" y="414485"/>
                </a:lnTo>
                <a:lnTo>
                  <a:pt x="61918" y="425449"/>
                </a:lnTo>
                <a:lnTo>
                  <a:pt x="59121" y="436811"/>
                </a:lnTo>
                <a:lnTo>
                  <a:pt x="57256" y="448563"/>
                </a:lnTo>
                <a:lnTo>
                  <a:pt x="56304" y="460695"/>
                </a:lnTo>
                <a:lnTo>
                  <a:pt x="56243" y="473198"/>
                </a:lnTo>
                <a:lnTo>
                  <a:pt x="57054" y="486064"/>
                </a:lnTo>
                <a:lnTo>
                  <a:pt x="58714" y="499284"/>
                </a:lnTo>
                <a:lnTo>
                  <a:pt x="61203" y="512848"/>
                </a:lnTo>
                <a:lnTo>
                  <a:pt x="64502" y="526749"/>
                </a:lnTo>
                <a:lnTo>
                  <a:pt x="59453" y="533257"/>
                </a:lnTo>
                <a:lnTo>
                  <a:pt x="52122" y="543791"/>
                </a:lnTo>
                <a:lnTo>
                  <a:pt x="45549" y="554583"/>
                </a:lnTo>
                <a:lnTo>
                  <a:pt x="39665" y="565606"/>
                </a:lnTo>
                <a:lnTo>
                  <a:pt x="15738" y="565606"/>
                </a:lnTo>
                <a:lnTo>
                  <a:pt x="15738" y="590925"/>
                </a:lnTo>
                <a:lnTo>
                  <a:pt x="320329" y="591381"/>
                </a:lnTo>
                <a:lnTo>
                  <a:pt x="320329" y="565931"/>
                </a:lnTo>
                <a:close/>
              </a:path>
            </a:pathLst>
          </a:custGeom>
          <a:solidFill>
            <a:srgbClr val="88AE44"/>
          </a:solidFill>
        </p:spPr>
        <p:txBody>
          <a:bodyPr wrap="square" lIns="0" tIns="0" rIns="0" bIns="0" rtlCol="0">
            <a:noAutofit/>
          </a:bodyPr>
          <a:lstStyle/>
          <a:p>
            <a:endParaRPr sz="1803" dirty="0">
              <a:solidFill>
                <a:srgbClr val="003573"/>
              </a:solidFill>
            </a:endParaRPr>
          </a:p>
        </p:txBody>
      </p:sp>
      <p:sp>
        <p:nvSpPr>
          <p:cNvPr id="5" name="object 6">
            <a:extLst>
              <a:ext uri="{FF2B5EF4-FFF2-40B4-BE49-F238E27FC236}">
                <a16:creationId xmlns:a16="http://schemas.microsoft.com/office/drawing/2014/main" id="{C4126293-6E65-A72C-4812-0E90CF123F36}"/>
              </a:ext>
            </a:extLst>
          </p:cNvPr>
          <p:cNvSpPr txBox="1"/>
          <p:nvPr userDrawn="1"/>
        </p:nvSpPr>
        <p:spPr>
          <a:xfrm>
            <a:off x="1106610" y="999535"/>
            <a:ext cx="3413103" cy="881082"/>
          </a:xfrm>
          <a:prstGeom prst="rect">
            <a:avLst/>
          </a:prstGeom>
        </p:spPr>
        <p:txBody>
          <a:bodyPr wrap="square" lIns="0" tIns="0" rIns="0" bIns="0" rtlCol="0">
            <a:noAutofit/>
          </a:bodyPr>
          <a:lstStyle/>
          <a:p>
            <a:pPr marL="12724" marR="22903">
              <a:lnSpc>
                <a:spcPts val="1763"/>
              </a:lnSpc>
              <a:spcBef>
                <a:spcPts val="88"/>
              </a:spcBef>
            </a:pPr>
            <a:r>
              <a:rPr sz="1600" b="1" dirty="0">
                <a:solidFill>
                  <a:srgbClr val="003573"/>
                </a:solidFill>
                <a:latin typeface="Raleway ExtraBold" panose="020B0903030101060003" pitchFamily="34" charset="0"/>
                <a:cs typeface="Verdana"/>
              </a:rPr>
              <a:t>INDIA</a:t>
            </a:r>
            <a:endParaRPr sz="2000" dirty="0">
              <a:solidFill>
                <a:srgbClr val="003573"/>
              </a:solidFill>
              <a:latin typeface="Raleway ExtraBold" panose="020B0903030101060003" pitchFamily="34" charset="0"/>
              <a:cs typeface="Verdana"/>
            </a:endParaRPr>
          </a:p>
          <a:p>
            <a:pPr marL="12724" marR="22903">
              <a:spcBef>
                <a:spcPts val="126"/>
              </a:spcBef>
            </a:pPr>
            <a:r>
              <a:rPr lang="en-IN" sz="1050" dirty="0">
                <a:solidFill>
                  <a:schemeClr val="tx1">
                    <a:lumMod val="65000"/>
                    <a:lumOff val="35000"/>
                  </a:schemeClr>
                </a:solidFill>
                <a:latin typeface="Raleway Medium" panose="020B0603030101060003" pitchFamily="34" charset="0"/>
                <a:cs typeface="Verdana"/>
              </a:rPr>
              <a:t>207-208,</a:t>
            </a:r>
            <a:r>
              <a:rPr lang="en-IN" sz="1050" spc="9"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2nd Flo</a:t>
            </a:r>
            <a:r>
              <a:rPr lang="en-IN" sz="1050" spc="-4" dirty="0">
                <a:solidFill>
                  <a:schemeClr val="tx1">
                    <a:lumMod val="65000"/>
                    <a:lumOff val="35000"/>
                  </a:schemeClr>
                </a:solidFill>
                <a:latin typeface="Raleway Medium" panose="020B0603030101060003" pitchFamily="34" charset="0"/>
                <a:cs typeface="Verdana"/>
              </a:rPr>
              <a:t>o</a:t>
            </a:r>
            <a:r>
              <a:rPr lang="en-IN" sz="1050" spc="-169"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 </a:t>
            </a:r>
            <a:r>
              <a:rPr lang="en-IN" sz="1050" spc="-59" dirty="0">
                <a:solidFill>
                  <a:schemeClr val="tx1">
                    <a:lumMod val="65000"/>
                    <a:lumOff val="35000"/>
                  </a:schemeClr>
                </a:solidFill>
                <a:latin typeface="Raleway Medium" panose="020B0603030101060003" pitchFamily="34" charset="0"/>
                <a:cs typeface="Verdana"/>
              </a:rPr>
              <a:t>W</a:t>
            </a:r>
            <a:r>
              <a:rPr lang="en-IN" sz="1050" dirty="0">
                <a:solidFill>
                  <a:schemeClr val="tx1">
                    <a:lumMod val="65000"/>
                    <a:lumOff val="35000"/>
                  </a:schemeClr>
                </a:solidFill>
                <a:latin typeface="Raleway Medium" panose="020B0603030101060003" pitchFamily="34" charset="0"/>
                <a:cs typeface="Verdana"/>
              </a:rPr>
              <a:t>e</a:t>
            </a:r>
            <a:r>
              <a:rPr lang="en-IN" sz="1050" spc="-4" dirty="0">
                <a:solidFill>
                  <a:schemeClr val="tx1">
                    <a:lumMod val="65000"/>
                    <a:lumOff val="35000"/>
                  </a:schemeClr>
                </a:solidFill>
                <a:latin typeface="Raleway Medium" panose="020B0603030101060003" pitchFamily="34" charset="0"/>
                <a:cs typeface="Verdana"/>
              </a:rPr>
              <a:t>l</a:t>
            </a:r>
            <a:r>
              <a:rPr lang="en-IN" sz="1050" dirty="0">
                <a:solidFill>
                  <a:schemeClr val="tx1">
                    <a:lumMod val="65000"/>
                    <a:lumOff val="35000"/>
                  </a:schemeClr>
                </a:solidFill>
                <a:latin typeface="Raleway Medium" panose="020B0603030101060003" pitchFamily="34" charset="0"/>
                <a:cs typeface="Verdana"/>
              </a:rPr>
              <a:t>ldone</a:t>
            </a:r>
            <a:r>
              <a:rPr lang="en-IN" sz="1050" spc="0" dirty="0">
                <a:solidFill>
                  <a:schemeClr val="tx1">
                    <a:lumMod val="65000"/>
                    <a:lumOff val="35000"/>
                  </a:schemeClr>
                </a:solidFill>
                <a:latin typeface="Raleway Medium" panose="020B0603030101060003" pitchFamily="34" charset="0"/>
                <a:cs typeface="Verdana"/>
              </a:rPr>
              <a:t> </a:t>
            </a:r>
            <a:r>
              <a:rPr lang="en-IN" sz="1050" spc="-134" dirty="0">
                <a:solidFill>
                  <a:schemeClr val="tx1">
                    <a:lumMod val="65000"/>
                    <a:lumOff val="35000"/>
                  </a:schemeClr>
                </a:solidFill>
                <a:latin typeface="Raleway Medium" panose="020B0603030101060003" pitchFamily="34" charset="0"/>
                <a:cs typeface="Verdana"/>
              </a:rPr>
              <a:t>T</a:t>
            </a:r>
            <a:r>
              <a:rPr lang="en-IN" sz="1050" dirty="0">
                <a:solidFill>
                  <a:schemeClr val="tx1">
                    <a:lumMod val="65000"/>
                    <a:lumOff val="35000"/>
                  </a:schemeClr>
                </a:solidFill>
                <a:latin typeface="Raleway Medium" panose="020B0603030101060003" pitchFamily="34" charset="0"/>
                <a:cs typeface="Verdana"/>
              </a:rPr>
              <a:t>ech </a:t>
            </a:r>
            <a:r>
              <a:rPr lang="en-IN" sz="1050" spc="-25" dirty="0">
                <a:solidFill>
                  <a:schemeClr val="tx1">
                    <a:lumMod val="65000"/>
                    <a:lumOff val="35000"/>
                  </a:schemeClr>
                </a:solidFill>
                <a:latin typeface="Raleway Medium" panose="020B0603030101060003" pitchFamily="34" charset="0"/>
                <a:cs typeface="Verdana"/>
              </a:rPr>
              <a:t>P</a:t>
            </a:r>
            <a:r>
              <a:rPr lang="en-IN" sz="1050" dirty="0">
                <a:solidFill>
                  <a:schemeClr val="tx1">
                    <a:lumMod val="65000"/>
                    <a:lumOff val="35000"/>
                  </a:schemeClr>
                </a:solidFill>
                <a:latin typeface="Raleway Medium" panose="020B0603030101060003" pitchFamily="34" charset="0"/>
                <a:cs typeface="Verdana"/>
              </a:rPr>
              <a:t>a</a:t>
            </a:r>
            <a:r>
              <a:rPr lang="en-IN" sz="1050" spc="-4"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k</a:t>
            </a:r>
            <a:r>
              <a:rPr lang="en-IN" sz="1050" spc="14"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Sohna</a:t>
            </a:r>
            <a:r>
              <a:rPr lang="en-IN" sz="1050" spc="14" dirty="0">
                <a:solidFill>
                  <a:schemeClr val="tx1">
                    <a:lumMod val="65000"/>
                    <a:lumOff val="35000"/>
                  </a:schemeClr>
                </a:solidFill>
                <a:latin typeface="Raleway Medium" panose="020B0603030101060003" pitchFamily="34" charset="0"/>
                <a:cs typeface="Verdana"/>
              </a:rPr>
              <a:t> </a:t>
            </a:r>
            <a:r>
              <a:rPr lang="en-IN" sz="1050" spc="-29"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oad,</a:t>
            </a:r>
            <a:r>
              <a:rPr lang="en-IN" sz="1050" spc="9"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Sector</a:t>
            </a:r>
            <a:r>
              <a:rPr lang="en-IN" sz="1050" spc="4"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48, Guru</a:t>
            </a:r>
            <a:r>
              <a:rPr lang="en-IN" sz="1050" spc="4" dirty="0">
                <a:solidFill>
                  <a:schemeClr val="tx1">
                    <a:lumMod val="65000"/>
                    <a:lumOff val="35000"/>
                  </a:schemeClr>
                </a:solidFill>
                <a:latin typeface="Raleway Medium" panose="020B0603030101060003" pitchFamily="34" charset="0"/>
                <a:cs typeface="Verdana"/>
              </a:rPr>
              <a:t>g</a:t>
            </a:r>
            <a:r>
              <a:rPr lang="en-IN" sz="1050" spc="-25"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am,</a:t>
            </a:r>
            <a:r>
              <a:rPr lang="en-IN" sz="1050" spc="4"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Ha</a:t>
            </a:r>
            <a:r>
              <a:rPr lang="en-IN" sz="1050" spc="-4" dirty="0">
                <a:solidFill>
                  <a:schemeClr val="tx1">
                    <a:lumMod val="65000"/>
                    <a:lumOff val="35000"/>
                  </a:schemeClr>
                </a:solidFill>
                <a:latin typeface="Raleway Medium" panose="020B0603030101060003" pitchFamily="34" charset="0"/>
                <a:cs typeface="Verdana"/>
              </a:rPr>
              <a:t>r</a:t>
            </a:r>
            <a:r>
              <a:rPr lang="en-IN" sz="1050" spc="-25" dirty="0">
                <a:solidFill>
                  <a:schemeClr val="tx1">
                    <a:lumMod val="65000"/>
                    <a:lumOff val="35000"/>
                  </a:schemeClr>
                </a:solidFill>
                <a:latin typeface="Raleway Medium" panose="020B0603030101060003" pitchFamily="34" charset="0"/>
                <a:cs typeface="Verdana"/>
              </a:rPr>
              <a:t>y</a:t>
            </a:r>
            <a:r>
              <a:rPr lang="en-IN" sz="1050" dirty="0">
                <a:solidFill>
                  <a:schemeClr val="tx1">
                    <a:lumMod val="65000"/>
                    <a:lumOff val="35000"/>
                  </a:schemeClr>
                </a:solidFill>
                <a:latin typeface="Raleway Medium" panose="020B0603030101060003" pitchFamily="34" charset="0"/>
                <a:cs typeface="Verdana"/>
              </a:rPr>
              <a:t>ana</a:t>
            </a:r>
            <a:r>
              <a:rPr lang="en-IN" sz="1050" spc="29"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122</a:t>
            </a:r>
            <a:r>
              <a:rPr lang="en-IN" sz="1050" spc="-4" dirty="0">
                <a:solidFill>
                  <a:schemeClr val="tx1">
                    <a:lumMod val="65000"/>
                    <a:lumOff val="35000"/>
                  </a:schemeClr>
                </a:solidFill>
                <a:latin typeface="Raleway Medium" panose="020B0603030101060003" pitchFamily="34" charset="0"/>
                <a:cs typeface="Verdana"/>
              </a:rPr>
              <a:t>0</a:t>
            </a:r>
            <a:r>
              <a:rPr lang="en-IN" sz="1050" dirty="0">
                <a:solidFill>
                  <a:schemeClr val="tx1">
                    <a:lumMod val="65000"/>
                    <a:lumOff val="35000"/>
                  </a:schemeClr>
                </a:solidFill>
                <a:latin typeface="Raleway Medium" panose="020B0603030101060003" pitchFamily="34" charset="0"/>
                <a:cs typeface="Verdana"/>
              </a:rPr>
              <a:t>18,</a:t>
            </a:r>
          </a:p>
          <a:p>
            <a:pPr marL="12724" marR="350615">
              <a:spcBef>
                <a:spcPts val="327"/>
              </a:spcBef>
            </a:pPr>
            <a:r>
              <a:rPr lang="en-IN" sz="1050" dirty="0">
                <a:solidFill>
                  <a:schemeClr val="tx1">
                    <a:lumMod val="65000"/>
                    <a:lumOff val="35000"/>
                  </a:schemeClr>
                </a:solidFill>
                <a:latin typeface="Raleway Medium" panose="020B0603030101060003" pitchFamily="34" charset="0"/>
                <a:cs typeface="Verdana"/>
              </a:rPr>
              <a:t>P</a:t>
            </a:r>
            <a:r>
              <a:rPr lang="en-IN" sz="1050" spc="4" dirty="0">
                <a:solidFill>
                  <a:schemeClr val="tx1">
                    <a:lumMod val="65000"/>
                    <a:lumOff val="35000"/>
                  </a:schemeClr>
                </a:solidFill>
                <a:latin typeface="Raleway Medium" panose="020B0603030101060003" pitchFamily="34" charset="0"/>
                <a:cs typeface="Verdana"/>
              </a:rPr>
              <a:t>h</a:t>
            </a:r>
            <a:r>
              <a:rPr lang="en-IN" sz="1050" dirty="0">
                <a:solidFill>
                  <a:schemeClr val="tx1">
                    <a:lumMod val="65000"/>
                    <a:lumOff val="35000"/>
                  </a:schemeClr>
                </a:solidFill>
                <a:latin typeface="Raleway Medium" panose="020B0603030101060003" pitchFamily="34" charset="0"/>
                <a:cs typeface="Verdana"/>
              </a:rPr>
              <a:t>one -</a:t>
            </a:r>
            <a:r>
              <a:rPr lang="en-IN" sz="1050" spc="9" dirty="0">
                <a:solidFill>
                  <a:schemeClr val="tx1">
                    <a:lumMod val="65000"/>
                    <a:lumOff val="35000"/>
                  </a:schemeClr>
                </a:solidFill>
                <a:latin typeface="Raleway Medium" panose="020B0603030101060003" pitchFamily="34" charset="0"/>
                <a:cs typeface="Verdana"/>
              </a:rPr>
              <a:t> </a:t>
            </a:r>
            <a:r>
              <a:rPr lang="en-IN" sz="1050" b="0" i="0" dirty="0">
                <a:solidFill>
                  <a:schemeClr val="tx1">
                    <a:lumMod val="65000"/>
                    <a:lumOff val="35000"/>
                  </a:schemeClr>
                </a:solidFill>
                <a:effectLst/>
                <a:latin typeface="Open Sans" panose="020B0606030504020204" pitchFamily="34" charset="0"/>
              </a:rPr>
              <a:t> </a:t>
            </a:r>
            <a:r>
              <a:rPr lang="en-IN" sz="1050" b="1" i="0" dirty="0">
                <a:solidFill>
                  <a:schemeClr val="tx1">
                    <a:lumMod val="65000"/>
                    <a:lumOff val="35000"/>
                  </a:schemeClr>
                </a:solidFill>
                <a:effectLst/>
                <a:latin typeface="Open Sans" panose="020B0606030504020204" pitchFamily="34" charset="0"/>
              </a:rPr>
              <a:t>+91 124 429 4218</a:t>
            </a:r>
          </a:p>
          <a:p>
            <a:pPr marL="12724" marR="350615">
              <a:spcBef>
                <a:spcPts val="327"/>
              </a:spcBef>
            </a:pPr>
            <a:endParaRPr lang="en-IN" sz="1050" b="1" dirty="0">
              <a:solidFill>
                <a:schemeClr val="tx1">
                  <a:lumMod val="65000"/>
                  <a:lumOff val="35000"/>
                </a:schemeClr>
              </a:solidFill>
              <a:latin typeface="Raleway Medium" panose="020B0603030101060003" pitchFamily="34" charset="0"/>
              <a:cs typeface="Verdana"/>
            </a:endParaRPr>
          </a:p>
        </p:txBody>
      </p:sp>
      <p:sp>
        <p:nvSpPr>
          <p:cNvPr id="10" name="object 5">
            <a:extLst>
              <a:ext uri="{FF2B5EF4-FFF2-40B4-BE49-F238E27FC236}">
                <a16:creationId xmlns:a16="http://schemas.microsoft.com/office/drawing/2014/main" id="{B8810A79-25A9-99A5-552B-C13F4EE7C7D1}"/>
              </a:ext>
            </a:extLst>
          </p:cNvPr>
          <p:cNvSpPr txBox="1"/>
          <p:nvPr userDrawn="1"/>
        </p:nvSpPr>
        <p:spPr>
          <a:xfrm>
            <a:off x="1106609" y="1926250"/>
            <a:ext cx="3775289" cy="778925"/>
          </a:xfrm>
          <a:prstGeom prst="rect">
            <a:avLst/>
          </a:prstGeom>
        </p:spPr>
        <p:txBody>
          <a:bodyPr wrap="square" lIns="0" tIns="0" rIns="0" bIns="0" rtlCol="0">
            <a:noAutofit/>
          </a:bodyPr>
          <a:lstStyle/>
          <a:p>
            <a:pPr marL="12724" marR="22902">
              <a:lnSpc>
                <a:spcPts val="1763"/>
              </a:lnSpc>
              <a:spcBef>
                <a:spcPts val="88"/>
              </a:spcBef>
            </a:pPr>
            <a:r>
              <a:rPr sz="1600" b="1" dirty="0">
                <a:solidFill>
                  <a:srgbClr val="003573"/>
                </a:solidFill>
                <a:latin typeface="Raleway ExtraBold" panose="020B0903030101060003" pitchFamily="34" charset="0"/>
                <a:cs typeface="Verdana"/>
              </a:rPr>
              <a:t>USA</a:t>
            </a:r>
            <a:endParaRPr sz="1600" dirty="0">
              <a:solidFill>
                <a:srgbClr val="003573"/>
              </a:solidFill>
              <a:latin typeface="Raleway ExtraBold" panose="020B0903030101060003" pitchFamily="34" charset="0"/>
              <a:cs typeface="Verdana"/>
            </a:endParaRPr>
          </a:p>
          <a:p>
            <a:pPr marL="12724" marR="22902">
              <a:spcBef>
                <a:spcPts val="126"/>
              </a:spcBef>
            </a:pPr>
            <a:r>
              <a:rPr lang="en-IN" sz="1050" dirty="0">
                <a:solidFill>
                  <a:schemeClr val="tx1">
                    <a:lumMod val="65000"/>
                    <a:lumOff val="35000"/>
                  </a:schemeClr>
                </a:solidFill>
                <a:latin typeface="Raleway Medium" panose="020B0603030101060003" pitchFamily="34" charset="0"/>
                <a:cs typeface="Verdana"/>
              </a:rPr>
              <a:t>4 Heinrick Way Bridgewater,</a:t>
            </a:r>
          </a:p>
          <a:p>
            <a:pPr marL="12724" marR="22902">
              <a:spcBef>
                <a:spcPts val="126"/>
              </a:spcBef>
            </a:pPr>
            <a:r>
              <a:rPr lang="en-IN" sz="1050" dirty="0">
                <a:solidFill>
                  <a:schemeClr val="tx1">
                    <a:lumMod val="65000"/>
                    <a:lumOff val="35000"/>
                  </a:schemeClr>
                </a:solidFill>
                <a:latin typeface="Raleway Medium" panose="020B0603030101060003" pitchFamily="34" charset="0"/>
                <a:cs typeface="Verdana"/>
              </a:rPr>
              <a:t>New Jersey 08807, USA</a:t>
            </a:r>
          </a:p>
          <a:p>
            <a:pPr algn="l">
              <a:buFont typeface="Arial" panose="020B0604020202020204" pitchFamily="34" charset="0"/>
              <a:buChar char="•"/>
            </a:pPr>
            <a:r>
              <a:rPr lang="en-IN" sz="1050" dirty="0">
                <a:solidFill>
                  <a:schemeClr val="tx1">
                    <a:lumMod val="65000"/>
                    <a:lumOff val="35000"/>
                  </a:schemeClr>
                </a:solidFill>
                <a:latin typeface="Raleway Medium" panose="020B0603030101060003" pitchFamily="34" charset="0"/>
                <a:cs typeface="Verdana"/>
              </a:rPr>
              <a:t>P</a:t>
            </a:r>
            <a:r>
              <a:rPr lang="en-IN" sz="1050" spc="4" dirty="0">
                <a:solidFill>
                  <a:schemeClr val="tx1">
                    <a:lumMod val="65000"/>
                    <a:lumOff val="35000"/>
                  </a:schemeClr>
                </a:solidFill>
                <a:latin typeface="Raleway Medium" panose="020B0603030101060003" pitchFamily="34" charset="0"/>
                <a:cs typeface="Verdana"/>
              </a:rPr>
              <a:t>h</a:t>
            </a:r>
            <a:r>
              <a:rPr lang="en-IN" sz="1050" dirty="0">
                <a:solidFill>
                  <a:schemeClr val="tx1">
                    <a:lumMod val="65000"/>
                    <a:lumOff val="35000"/>
                  </a:schemeClr>
                </a:solidFill>
                <a:latin typeface="Raleway Medium" panose="020B0603030101060003" pitchFamily="34" charset="0"/>
                <a:cs typeface="Verdana"/>
              </a:rPr>
              <a:t>one -</a:t>
            </a:r>
            <a:r>
              <a:rPr lang="en-IN" sz="1050" spc="9" dirty="0">
                <a:solidFill>
                  <a:schemeClr val="tx1">
                    <a:lumMod val="65000"/>
                    <a:lumOff val="35000"/>
                  </a:schemeClr>
                </a:solidFill>
                <a:latin typeface="Raleway Medium" panose="020B0603030101060003" pitchFamily="34" charset="0"/>
                <a:cs typeface="Verdana"/>
              </a:rPr>
              <a:t> </a:t>
            </a:r>
            <a:r>
              <a:rPr lang="en-IN" sz="1050" b="1" i="0" dirty="0">
                <a:solidFill>
                  <a:schemeClr val="tx1">
                    <a:lumMod val="65000"/>
                    <a:lumOff val="35000"/>
                  </a:schemeClr>
                </a:solidFill>
                <a:effectLst/>
                <a:latin typeface="Open Sans" panose="020B0606030504020204" pitchFamily="34" charset="0"/>
              </a:rPr>
              <a:t>+1 347 480 2054,  +1 202 697 9162</a:t>
            </a:r>
          </a:p>
          <a:p>
            <a:pPr marL="12724" marR="22902">
              <a:spcBef>
                <a:spcPts val="126"/>
              </a:spcBef>
            </a:pPr>
            <a:endParaRPr lang="en-IN" sz="1050" dirty="0">
              <a:solidFill>
                <a:schemeClr val="tx1">
                  <a:lumMod val="65000"/>
                  <a:lumOff val="35000"/>
                </a:schemeClr>
              </a:solidFill>
              <a:latin typeface="Raleway Medium" panose="020B0603030101060003" pitchFamily="34" charset="0"/>
              <a:cs typeface="Verdana"/>
            </a:endParaRPr>
          </a:p>
        </p:txBody>
      </p:sp>
      <p:sp>
        <p:nvSpPr>
          <p:cNvPr id="11" name="object 4">
            <a:extLst>
              <a:ext uri="{FF2B5EF4-FFF2-40B4-BE49-F238E27FC236}">
                <a16:creationId xmlns:a16="http://schemas.microsoft.com/office/drawing/2014/main" id="{BFD28765-20DE-4BD8-D7AC-14778C1754B1}"/>
              </a:ext>
            </a:extLst>
          </p:cNvPr>
          <p:cNvSpPr txBox="1"/>
          <p:nvPr userDrawn="1"/>
        </p:nvSpPr>
        <p:spPr>
          <a:xfrm>
            <a:off x="1106610" y="2847019"/>
            <a:ext cx="3677487" cy="786272"/>
          </a:xfrm>
          <a:prstGeom prst="rect">
            <a:avLst/>
          </a:prstGeom>
        </p:spPr>
        <p:txBody>
          <a:bodyPr wrap="square" lIns="0" tIns="0" rIns="0" bIns="0" rtlCol="0">
            <a:noAutofit/>
          </a:bodyPr>
          <a:lstStyle/>
          <a:p>
            <a:pPr marL="12724" marR="15111">
              <a:lnSpc>
                <a:spcPts val="1763"/>
              </a:lnSpc>
              <a:spcBef>
                <a:spcPts val="88"/>
              </a:spcBef>
            </a:pPr>
            <a:r>
              <a:rPr sz="1600" b="1" dirty="0">
                <a:solidFill>
                  <a:srgbClr val="003573"/>
                </a:solidFill>
                <a:latin typeface="Raleway ExtraBold" panose="020B0903030101060003" pitchFamily="34" charset="0"/>
                <a:cs typeface="Verdana"/>
              </a:rPr>
              <a:t>UK</a:t>
            </a:r>
            <a:endParaRPr sz="2000" dirty="0">
              <a:solidFill>
                <a:srgbClr val="003573"/>
              </a:solidFill>
              <a:latin typeface="Raleway ExtraBold" panose="020B0903030101060003" pitchFamily="34" charset="0"/>
              <a:cs typeface="Verdana"/>
            </a:endParaRPr>
          </a:p>
          <a:p>
            <a:pPr marL="12724">
              <a:spcBef>
                <a:spcPts val="126"/>
              </a:spcBef>
            </a:pPr>
            <a:r>
              <a:rPr sz="1200" dirty="0">
                <a:solidFill>
                  <a:schemeClr val="tx1">
                    <a:lumMod val="65000"/>
                    <a:lumOff val="35000"/>
                  </a:schemeClr>
                </a:solidFill>
                <a:latin typeface="Raleway Medium" panose="020B0603030101060003" pitchFamily="34" charset="0"/>
                <a:cs typeface="Verdana"/>
              </a:rPr>
              <a:t>1</a:t>
            </a:r>
            <a:r>
              <a:rPr sz="1050" dirty="0">
                <a:solidFill>
                  <a:schemeClr val="tx1">
                    <a:lumMod val="65000"/>
                    <a:lumOff val="35000"/>
                  </a:schemeClr>
                </a:solidFill>
                <a:latin typeface="Raleway Medium" panose="020B0603030101060003" pitchFamily="34" charset="0"/>
                <a:cs typeface="Verdana"/>
              </a:rPr>
              <a:t>3 Free</a:t>
            </a:r>
            <a:r>
              <a:rPr sz="1050" spc="-9" dirty="0">
                <a:solidFill>
                  <a:schemeClr val="tx1">
                    <a:lumMod val="65000"/>
                    <a:lumOff val="35000"/>
                  </a:schemeClr>
                </a:solidFill>
                <a:latin typeface="Raleway Medium" panose="020B0603030101060003" pitchFamily="34" charset="0"/>
                <a:cs typeface="Verdana"/>
              </a:rPr>
              <a:t>l</a:t>
            </a:r>
            <a:r>
              <a:rPr sz="1050" dirty="0">
                <a:solidFill>
                  <a:schemeClr val="tx1">
                    <a:lumMod val="65000"/>
                    <a:lumOff val="35000"/>
                  </a:schemeClr>
                </a:solidFill>
                <a:latin typeface="Raleway Medium" panose="020B0603030101060003" pitchFamily="34" charset="0"/>
                <a:cs typeface="Verdana"/>
              </a:rPr>
              <a:t>and</a:t>
            </a:r>
            <a:r>
              <a:rPr sz="1050" spc="4" dirty="0">
                <a:solidFill>
                  <a:schemeClr val="tx1">
                    <a:lumMod val="65000"/>
                    <a:lumOff val="35000"/>
                  </a:schemeClr>
                </a:solidFill>
                <a:latin typeface="Raleway Medium" panose="020B0603030101060003" pitchFamily="34" charset="0"/>
                <a:cs typeface="Verdana"/>
              </a:rPr>
              <a:t> </a:t>
            </a:r>
            <a:r>
              <a:rPr sz="1050" spc="-25" dirty="0">
                <a:solidFill>
                  <a:schemeClr val="tx1">
                    <a:lumMod val="65000"/>
                    <a:lumOff val="35000"/>
                  </a:schemeClr>
                </a:solidFill>
                <a:latin typeface="Raleway Medium" panose="020B0603030101060003" pitchFamily="34" charset="0"/>
                <a:cs typeface="Verdana"/>
              </a:rPr>
              <a:t>P</a:t>
            </a:r>
            <a:r>
              <a:rPr sz="1050" dirty="0">
                <a:solidFill>
                  <a:schemeClr val="tx1">
                    <a:lumMod val="65000"/>
                    <a:lumOff val="35000"/>
                  </a:schemeClr>
                </a:solidFill>
                <a:latin typeface="Raleway Medium" panose="020B0603030101060003" pitchFamily="34" charset="0"/>
                <a:cs typeface="Verdana"/>
              </a:rPr>
              <a:t>a</a:t>
            </a:r>
            <a:r>
              <a:rPr sz="1050" spc="-4" dirty="0">
                <a:solidFill>
                  <a:schemeClr val="tx1">
                    <a:lumMod val="65000"/>
                    <a:lumOff val="35000"/>
                  </a:schemeClr>
                </a:solidFill>
                <a:latin typeface="Raleway Medium" panose="020B0603030101060003" pitchFamily="34" charset="0"/>
                <a:cs typeface="Verdana"/>
              </a:rPr>
              <a:t>r</a:t>
            </a:r>
            <a:r>
              <a:rPr sz="1050" dirty="0">
                <a:solidFill>
                  <a:schemeClr val="tx1">
                    <a:lumMod val="65000"/>
                    <a:lumOff val="35000"/>
                  </a:schemeClr>
                </a:solidFill>
                <a:latin typeface="Raleway Medium" panose="020B0603030101060003" pitchFamily="34" charset="0"/>
                <a:cs typeface="Verdana"/>
              </a:rPr>
              <a:t>k,</a:t>
            </a:r>
            <a:r>
              <a:rPr sz="1050" spc="14" dirty="0">
                <a:solidFill>
                  <a:schemeClr val="tx1">
                    <a:lumMod val="65000"/>
                    <a:lumOff val="35000"/>
                  </a:schemeClr>
                </a:solidFill>
                <a:latin typeface="Raleway Medium" panose="020B0603030101060003" pitchFamily="34" charset="0"/>
                <a:cs typeface="Verdana"/>
              </a:rPr>
              <a:t> </a:t>
            </a:r>
            <a:r>
              <a:rPr sz="1050" spc="-29" dirty="0">
                <a:solidFill>
                  <a:schemeClr val="tx1">
                    <a:lumMod val="65000"/>
                    <a:lumOff val="35000"/>
                  </a:schemeClr>
                </a:solidFill>
                <a:latin typeface="Raleway Medium" panose="020B0603030101060003" pitchFamily="34" charset="0"/>
                <a:cs typeface="Verdana"/>
              </a:rPr>
              <a:t>P</a:t>
            </a:r>
            <a:r>
              <a:rPr sz="1050" dirty="0">
                <a:solidFill>
                  <a:schemeClr val="tx1">
                    <a:lumMod val="65000"/>
                    <a:lumOff val="35000"/>
                  </a:schemeClr>
                </a:solidFill>
                <a:latin typeface="Raleway Medium" panose="020B0603030101060003" pitchFamily="34" charset="0"/>
                <a:cs typeface="Verdana"/>
              </a:rPr>
              <a:t>o</a:t>
            </a:r>
            <a:r>
              <a:rPr sz="1050" spc="-4" dirty="0">
                <a:solidFill>
                  <a:schemeClr val="tx1">
                    <a:lumMod val="65000"/>
                    <a:lumOff val="35000"/>
                  </a:schemeClr>
                </a:solidFill>
                <a:latin typeface="Raleway Medium" panose="020B0603030101060003" pitchFamily="34" charset="0"/>
                <a:cs typeface="Verdana"/>
              </a:rPr>
              <a:t>o</a:t>
            </a:r>
            <a:r>
              <a:rPr sz="1050" dirty="0">
                <a:solidFill>
                  <a:schemeClr val="tx1">
                    <a:lumMod val="65000"/>
                    <a:lumOff val="35000"/>
                  </a:schemeClr>
                </a:solidFill>
                <a:latin typeface="Raleway Medium" panose="020B0603030101060003" pitchFamily="34" charset="0"/>
                <a:cs typeface="Verdana"/>
              </a:rPr>
              <a:t>l</a:t>
            </a:r>
            <a:r>
              <a:rPr sz="1050" spc="-4" dirty="0">
                <a:solidFill>
                  <a:schemeClr val="tx1">
                    <a:lumMod val="65000"/>
                    <a:lumOff val="35000"/>
                  </a:schemeClr>
                </a:solidFill>
                <a:latin typeface="Raleway Medium" panose="020B0603030101060003" pitchFamily="34" charset="0"/>
                <a:cs typeface="Verdana"/>
              </a:rPr>
              <a:t>e</a:t>
            </a:r>
            <a:r>
              <a:rPr sz="1050" dirty="0">
                <a:solidFill>
                  <a:schemeClr val="tx1">
                    <a:lumMod val="65000"/>
                    <a:lumOff val="35000"/>
                  </a:schemeClr>
                </a:solidFill>
                <a:latin typeface="Raleway Medium" panose="020B0603030101060003" pitchFamily="34" charset="0"/>
                <a:cs typeface="Verdana"/>
              </a:rPr>
              <a:t>, D</a:t>
            </a:r>
            <a:r>
              <a:rPr sz="1050" spc="-4" dirty="0">
                <a:solidFill>
                  <a:schemeClr val="tx1">
                    <a:lumMod val="65000"/>
                    <a:lumOff val="35000"/>
                  </a:schemeClr>
                </a:solidFill>
                <a:latin typeface="Raleway Medium" panose="020B0603030101060003" pitchFamily="34" charset="0"/>
                <a:cs typeface="Verdana"/>
              </a:rPr>
              <a:t>o</a:t>
            </a:r>
            <a:r>
              <a:rPr sz="1050" dirty="0">
                <a:solidFill>
                  <a:schemeClr val="tx1">
                    <a:lumMod val="65000"/>
                    <a:lumOff val="35000"/>
                  </a:schemeClr>
                </a:solidFill>
                <a:latin typeface="Raleway Medium" panose="020B0603030101060003" pitchFamily="34" charset="0"/>
                <a:cs typeface="Verdana"/>
              </a:rPr>
              <a:t>r</a:t>
            </a:r>
            <a:r>
              <a:rPr sz="1050" spc="-4" dirty="0">
                <a:solidFill>
                  <a:schemeClr val="tx1">
                    <a:lumMod val="65000"/>
                    <a:lumOff val="35000"/>
                  </a:schemeClr>
                </a:solidFill>
                <a:latin typeface="Raleway Medium" panose="020B0603030101060003" pitchFamily="34" charset="0"/>
                <a:cs typeface="Verdana"/>
              </a:rPr>
              <a:t>s</a:t>
            </a:r>
            <a:r>
              <a:rPr sz="1050" dirty="0">
                <a:solidFill>
                  <a:schemeClr val="tx1">
                    <a:lumMod val="65000"/>
                    <a:lumOff val="35000"/>
                  </a:schemeClr>
                </a:solidFill>
                <a:latin typeface="Raleway Medium" panose="020B0603030101060003" pitchFamily="34" charset="0"/>
                <a:cs typeface="Verdana"/>
              </a:rPr>
              <a:t>et, </a:t>
            </a:r>
          </a:p>
          <a:p>
            <a:pPr marL="12724">
              <a:spcBef>
                <a:spcPts val="438"/>
              </a:spcBef>
            </a:pPr>
            <a:r>
              <a:rPr sz="1050" dirty="0">
                <a:solidFill>
                  <a:schemeClr val="tx1">
                    <a:lumMod val="65000"/>
                    <a:lumOff val="35000"/>
                  </a:schemeClr>
                </a:solidFill>
                <a:latin typeface="Raleway Medium" panose="020B0603030101060003" pitchFamily="34" charset="0"/>
                <a:cs typeface="Verdana"/>
              </a:rPr>
              <a:t>United Kingdom, BH16</a:t>
            </a:r>
            <a:r>
              <a:rPr sz="1050" spc="9" dirty="0">
                <a:solidFill>
                  <a:schemeClr val="tx1">
                    <a:lumMod val="65000"/>
                    <a:lumOff val="35000"/>
                  </a:schemeClr>
                </a:solidFill>
                <a:latin typeface="Raleway Medium" panose="020B0603030101060003" pitchFamily="34" charset="0"/>
                <a:cs typeface="Verdana"/>
              </a:rPr>
              <a:t> </a:t>
            </a:r>
            <a:r>
              <a:rPr sz="1050" dirty="0">
                <a:solidFill>
                  <a:schemeClr val="tx1">
                    <a:lumMod val="65000"/>
                    <a:lumOff val="35000"/>
                  </a:schemeClr>
                </a:solidFill>
                <a:latin typeface="Raleway Medium" panose="020B0603030101060003" pitchFamily="34" charset="0"/>
                <a:cs typeface="Verdana"/>
              </a:rPr>
              <a:t>6FH</a:t>
            </a:r>
          </a:p>
          <a:p>
            <a:pPr marL="12724" marR="15111">
              <a:spcBef>
                <a:spcPts val="443"/>
              </a:spcBef>
            </a:pPr>
            <a:r>
              <a:rPr sz="1050" dirty="0">
                <a:solidFill>
                  <a:schemeClr val="tx1">
                    <a:lumMod val="65000"/>
                    <a:lumOff val="35000"/>
                  </a:schemeClr>
                </a:solidFill>
                <a:latin typeface="Raleway Medium" panose="020B0603030101060003" pitchFamily="34" charset="0"/>
                <a:cs typeface="Verdana"/>
              </a:rPr>
              <a:t>P</a:t>
            </a:r>
            <a:r>
              <a:rPr sz="1050" spc="4" dirty="0">
                <a:solidFill>
                  <a:schemeClr val="tx1">
                    <a:lumMod val="65000"/>
                    <a:lumOff val="35000"/>
                  </a:schemeClr>
                </a:solidFill>
                <a:latin typeface="Raleway Medium" panose="020B0603030101060003" pitchFamily="34" charset="0"/>
                <a:cs typeface="Verdana"/>
              </a:rPr>
              <a:t>h</a:t>
            </a:r>
            <a:r>
              <a:rPr sz="1050" dirty="0">
                <a:solidFill>
                  <a:schemeClr val="tx1">
                    <a:lumMod val="65000"/>
                    <a:lumOff val="35000"/>
                  </a:schemeClr>
                </a:solidFill>
                <a:latin typeface="Raleway Medium" panose="020B0603030101060003" pitchFamily="34" charset="0"/>
                <a:cs typeface="Verdana"/>
              </a:rPr>
              <a:t>one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sz="1050" b="1" spc="9"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sz="1050" b="1" spc="4"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44 207 193</a:t>
            </a:r>
            <a:r>
              <a:rPr sz="1050" b="1" spc="9"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3548</a:t>
            </a:r>
          </a:p>
        </p:txBody>
      </p:sp>
      <p:grpSp>
        <p:nvGrpSpPr>
          <p:cNvPr id="12" name="Group 11">
            <a:extLst>
              <a:ext uri="{FF2B5EF4-FFF2-40B4-BE49-F238E27FC236}">
                <a16:creationId xmlns:a16="http://schemas.microsoft.com/office/drawing/2014/main" id="{2D9B63F7-27CA-50D6-15DB-A6C610C9E237}"/>
              </a:ext>
            </a:extLst>
          </p:cNvPr>
          <p:cNvGrpSpPr/>
          <p:nvPr userDrawn="1"/>
        </p:nvGrpSpPr>
        <p:grpSpPr>
          <a:xfrm>
            <a:off x="619447" y="2966562"/>
            <a:ext cx="186249" cy="694388"/>
            <a:chOff x="9224104" y="4384298"/>
            <a:chExt cx="232120" cy="865406"/>
          </a:xfrm>
          <a:solidFill>
            <a:srgbClr val="88AE44"/>
          </a:solidFill>
        </p:grpSpPr>
        <p:sp>
          <p:nvSpPr>
            <p:cNvPr id="13" name="object 10">
              <a:extLst>
                <a:ext uri="{FF2B5EF4-FFF2-40B4-BE49-F238E27FC236}">
                  <a16:creationId xmlns:a16="http://schemas.microsoft.com/office/drawing/2014/main" id="{04B48004-C5C4-4D68-1E83-24AE51460711}"/>
                </a:ext>
              </a:extLst>
            </p:cNvPr>
            <p:cNvSpPr/>
            <p:nvPr/>
          </p:nvSpPr>
          <p:spPr>
            <a:xfrm>
              <a:off x="9224104" y="4384298"/>
              <a:ext cx="232120" cy="865404"/>
            </a:xfrm>
            <a:custGeom>
              <a:avLst/>
              <a:gdLst/>
              <a:ahLst/>
              <a:cxnLst/>
              <a:rect l="l" t="t" r="r" b="b"/>
              <a:pathLst>
                <a:path w="231690" h="863802">
                  <a:moveTo>
                    <a:pt x="64391" y="347432"/>
                  </a:moveTo>
                  <a:lnTo>
                    <a:pt x="67205" y="339846"/>
                  </a:lnTo>
                  <a:lnTo>
                    <a:pt x="71599" y="333022"/>
                  </a:lnTo>
                  <a:lnTo>
                    <a:pt x="77091" y="327403"/>
                  </a:lnTo>
                  <a:lnTo>
                    <a:pt x="82102" y="322265"/>
                  </a:lnTo>
                  <a:lnTo>
                    <a:pt x="88006" y="318121"/>
                  </a:lnTo>
                  <a:lnTo>
                    <a:pt x="94596" y="315241"/>
                  </a:lnTo>
                  <a:lnTo>
                    <a:pt x="64391" y="315241"/>
                  </a:lnTo>
                  <a:lnTo>
                    <a:pt x="64391" y="347432"/>
                  </a:lnTo>
                  <a:close/>
                </a:path>
                <a:path w="231690" h="863802">
                  <a:moveTo>
                    <a:pt x="165338" y="354523"/>
                  </a:moveTo>
                  <a:lnTo>
                    <a:pt x="160581" y="342505"/>
                  </a:lnTo>
                  <a:lnTo>
                    <a:pt x="152262" y="331266"/>
                  </a:lnTo>
                  <a:lnTo>
                    <a:pt x="145119" y="333865"/>
                  </a:lnTo>
                  <a:lnTo>
                    <a:pt x="133860" y="345395"/>
                  </a:lnTo>
                  <a:lnTo>
                    <a:pt x="138603" y="350171"/>
                  </a:lnTo>
                  <a:lnTo>
                    <a:pt x="149862" y="338653"/>
                  </a:lnTo>
                  <a:lnTo>
                    <a:pt x="156523" y="349378"/>
                  </a:lnTo>
                  <a:lnTo>
                    <a:pt x="159972" y="361923"/>
                  </a:lnTo>
                  <a:lnTo>
                    <a:pt x="160218" y="364452"/>
                  </a:lnTo>
                  <a:lnTo>
                    <a:pt x="144296" y="364452"/>
                  </a:lnTo>
                  <a:lnTo>
                    <a:pt x="143678" y="359102"/>
                  </a:lnTo>
                  <a:lnTo>
                    <a:pt x="141621" y="354186"/>
                  </a:lnTo>
                  <a:lnTo>
                    <a:pt x="139358" y="361350"/>
                  </a:lnTo>
                  <a:lnTo>
                    <a:pt x="139358" y="367823"/>
                  </a:lnTo>
                  <a:lnTo>
                    <a:pt x="141621" y="381530"/>
                  </a:lnTo>
                  <a:lnTo>
                    <a:pt x="143678" y="376684"/>
                  </a:lnTo>
                  <a:lnTo>
                    <a:pt x="144296" y="371334"/>
                  </a:lnTo>
                  <a:lnTo>
                    <a:pt x="160218" y="371334"/>
                  </a:lnTo>
                  <a:lnTo>
                    <a:pt x="164979" y="382441"/>
                  </a:lnTo>
                  <a:lnTo>
                    <a:pt x="167000" y="369254"/>
                  </a:lnTo>
                  <a:lnTo>
                    <a:pt x="167019" y="367823"/>
                  </a:lnTo>
                  <a:lnTo>
                    <a:pt x="165338" y="354523"/>
                  </a:lnTo>
                  <a:close/>
                </a:path>
                <a:path w="231690" h="863802">
                  <a:moveTo>
                    <a:pt x="152262" y="404379"/>
                  </a:moveTo>
                  <a:lnTo>
                    <a:pt x="145119" y="401851"/>
                  </a:lnTo>
                  <a:lnTo>
                    <a:pt x="134443" y="408780"/>
                  </a:lnTo>
                  <a:lnTo>
                    <a:pt x="121978" y="412332"/>
                  </a:lnTo>
                  <a:lnTo>
                    <a:pt x="119995" y="412538"/>
                  </a:lnTo>
                  <a:lnTo>
                    <a:pt x="129764" y="417713"/>
                  </a:lnTo>
                  <a:lnTo>
                    <a:pt x="141660" y="412682"/>
                  </a:lnTo>
                  <a:lnTo>
                    <a:pt x="152262" y="404379"/>
                  </a:lnTo>
                  <a:close/>
                </a:path>
                <a:path w="231690" h="863802">
                  <a:moveTo>
                    <a:pt x="67788" y="381122"/>
                  </a:moveTo>
                  <a:lnTo>
                    <a:pt x="72548" y="393140"/>
                  </a:lnTo>
                  <a:lnTo>
                    <a:pt x="73174" y="373915"/>
                  </a:lnTo>
                  <a:lnTo>
                    <a:pt x="72903" y="371334"/>
                  </a:lnTo>
                  <a:lnTo>
                    <a:pt x="88830" y="371334"/>
                  </a:lnTo>
                  <a:lnTo>
                    <a:pt x="88761" y="364522"/>
                  </a:lnTo>
                  <a:lnTo>
                    <a:pt x="72835" y="364522"/>
                  </a:lnTo>
                  <a:lnTo>
                    <a:pt x="75633" y="351707"/>
                  </a:lnTo>
                  <a:lnTo>
                    <a:pt x="81736" y="340583"/>
                  </a:lnTo>
                  <a:lnTo>
                    <a:pt x="83269" y="338652"/>
                  </a:lnTo>
                  <a:lnTo>
                    <a:pt x="91469" y="322962"/>
                  </a:lnTo>
                  <a:lnTo>
                    <a:pt x="80867" y="331266"/>
                  </a:lnTo>
                  <a:lnTo>
                    <a:pt x="73204" y="341345"/>
                  </a:lnTo>
                  <a:lnTo>
                    <a:pt x="68148" y="353203"/>
                  </a:lnTo>
                  <a:lnTo>
                    <a:pt x="66126" y="366390"/>
                  </a:lnTo>
                  <a:lnTo>
                    <a:pt x="66107" y="367823"/>
                  </a:lnTo>
                  <a:lnTo>
                    <a:pt x="67788" y="381122"/>
                  </a:lnTo>
                  <a:close/>
                </a:path>
                <a:path w="231690" h="863802">
                  <a:moveTo>
                    <a:pt x="88006" y="333795"/>
                  </a:moveTo>
                  <a:lnTo>
                    <a:pt x="83269" y="338652"/>
                  </a:lnTo>
                  <a:lnTo>
                    <a:pt x="94527" y="350171"/>
                  </a:lnTo>
                  <a:lnTo>
                    <a:pt x="99264" y="345325"/>
                  </a:lnTo>
                  <a:lnTo>
                    <a:pt x="88006" y="333795"/>
                  </a:lnTo>
                  <a:close/>
                </a:path>
                <a:path w="231690" h="863802">
                  <a:moveTo>
                    <a:pt x="89559" y="403228"/>
                  </a:moveTo>
                  <a:lnTo>
                    <a:pt x="90890" y="412338"/>
                  </a:lnTo>
                  <a:lnTo>
                    <a:pt x="102705" y="417526"/>
                  </a:lnTo>
                  <a:lnTo>
                    <a:pt x="116566" y="419491"/>
                  </a:lnTo>
                  <a:lnTo>
                    <a:pt x="113263" y="396291"/>
                  </a:lnTo>
                  <a:lnTo>
                    <a:pt x="113263" y="412608"/>
                  </a:lnTo>
                  <a:lnTo>
                    <a:pt x="100546" y="409651"/>
                  </a:lnTo>
                  <a:lnTo>
                    <a:pt x="89559" y="403228"/>
                  </a:lnTo>
                  <a:close/>
                </a:path>
                <a:path w="231690" h="863802">
                  <a:moveTo>
                    <a:pt x="80867" y="404379"/>
                  </a:moveTo>
                  <a:lnTo>
                    <a:pt x="90890" y="412338"/>
                  </a:lnTo>
                  <a:lnTo>
                    <a:pt x="89559" y="403228"/>
                  </a:lnTo>
                  <a:lnTo>
                    <a:pt x="88074" y="401991"/>
                  </a:lnTo>
                  <a:lnTo>
                    <a:pt x="99333" y="390461"/>
                  </a:lnTo>
                  <a:lnTo>
                    <a:pt x="103246" y="393622"/>
                  </a:lnTo>
                  <a:lnTo>
                    <a:pt x="108051" y="395729"/>
                  </a:lnTo>
                  <a:lnTo>
                    <a:pt x="113263" y="396291"/>
                  </a:lnTo>
                  <a:lnTo>
                    <a:pt x="116566" y="419491"/>
                  </a:lnTo>
                  <a:lnTo>
                    <a:pt x="129764" y="417713"/>
                  </a:lnTo>
                  <a:lnTo>
                    <a:pt x="119995" y="412538"/>
                  </a:lnTo>
                  <a:lnTo>
                    <a:pt x="119995" y="396220"/>
                  </a:lnTo>
                  <a:lnTo>
                    <a:pt x="125207" y="395588"/>
                  </a:lnTo>
                  <a:lnTo>
                    <a:pt x="129951" y="393481"/>
                  </a:lnTo>
                  <a:lnTo>
                    <a:pt x="133860" y="390321"/>
                  </a:lnTo>
                  <a:lnTo>
                    <a:pt x="145119" y="401851"/>
                  </a:lnTo>
                  <a:lnTo>
                    <a:pt x="152262" y="404379"/>
                  </a:lnTo>
                  <a:lnTo>
                    <a:pt x="159925" y="394300"/>
                  </a:lnTo>
                  <a:lnTo>
                    <a:pt x="164979" y="382441"/>
                  </a:lnTo>
                  <a:lnTo>
                    <a:pt x="160218" y="371334"/>
                  </a:lnTo>
                  <a:lnTo>
                    <a:pt x="157373" y="384118"/>
                  </a:lnTo>
                  <a:lnTo>
                    <a:pt x="151251" y="395231"/>
                  </a:lnTo>
                  <a:lnTo>
                    <a:pt x="149793" y="397063"/>
                  </a:lnTo>
                  <a:lnTo>
                    <a:pt x="138535" y="385533"/>
                  </a:lnTo>
                  <a:lnTo>
                    <a:pt x="141621" y="381530"/>
                  </a:lnTo>
                  <a:lnTo>
                    <a:pt x="139358" y="367823"/>
                  </a:lnTo>
                  <a:lnTo>
                    <a:pt x="139358" y="374296"/>
                  </a:lnTo>
                  <a:lnTo>
                    <a:pt x="136809" y="380125"/>
                  </a:lnTo>
                  <a:lnTo>
                    <a:pt x="132694" y="384339"/>
                  </a:lnTo>
                  <a:lnTo>
                    <a:pt x="128579" y="388565"/>
                  </a:lnTo>
                  <a:lnTo>
                    <a:pt x="122876" y="391164"/>
                  </a:lnTo>
                  <a:lnTo>
                    <a:pt x="110245" y="391164"/>
                  </a:lnTo>
                  <a:lnTo>
                    <a:pt x="104550" y="388565"/>
                  </a:lnTo>
                  <a:lnTo>
                    <a:pt x="100431" y="384339"/>
                  </a:lnTo>
                  <a:lnTo>
                    <a:pt x="96312" y="380125"/>
                  </a:lnTo>
                  <a:lnTo>
                    <a:pt x="93772" y="374296"/>
                  </a:lnTo>
                  <a:lnTo>
                    <a:pt x="93772" y="361350"/>
                  </a:lnTo>
                  <a:lnTo>
                    <a:pt x="96312" y="355520"/>
                  </a:lnTo>
                  <a:lnTo>
                    <a:pt x="100431" y="351306"/>
                  </a:lnTo>
                  <a:lnTo>
                    <a:pt x="100569" y="351166"/>
                  </a:lnTo>
                  <a:lnTo>
                    <a:pt x="104687" y="347010"/>
                  </a:lnTo>
                  <a:lnTo>
                    <a:pt x="110314" y="344482"/>
                  </a:lnTo>
                  <a:lnTo>
                    <a:pt x="122876" y="344482"/>
                  </a:lnTo>
                  <a:lnTo>
                    <a:pt x="128579" y="347081"/>
                  </a:lnTo>
                  <a:lnTo>
                    <a:pt x="132694" y="351306"/>
                  </a:lnTo>
                  <a:lnTo>
                    <a:pt x="136809" y="355520"/>
                  </a:lnTo>
                  <a:lnTo>
                    <a:pt x="139358" y="361350"/>
                  </a:lnTo>
                  <a:lnTo>
                    <a:pt x="141621" y="354186"/>
                  </a:lnTo>
                  <a:lnTo>
                    <a:pt x="138603" y="350171"/>
                  </a:lnTo>
                  <a:lnTo>
                    <a:pt x="133860" y="345395"/>
                  </a:lnTo>
                  <a:lnTo>
                    <a:pt x="129951" y="342234"/>
                  </a:lnTo>
                  <a:lnTo>
                    <a:pt x="125139" y="340057"/>
                  </a:lnTo>
                  <a:lnTo>
                    <a:pt x="119927" y="339425"/>
                  </a:lnTo>
                  <a:lnTo>
                    <a:pt x="119927" y="323108"/>
                  </a:lnTo>
                  <a:lnTo>
                    <a:pt x="132625" y="326120"/>
                  </a:lnTo>
                  <a:lnTo>
                    <a:pt x="143593" y="332581"/>
                  </a:lnTo>
                  <a:lnTo>
                    <a:pt x="145119" y="333865"/>
                  </a:lnTo>
                  <a:lnTo>
                    <a:pt x="152262" y="331266"/>
                  </a:lnTo>
                  <a:lnTo>
                    <a:pt x="142237" y="323307"/>
                  </a:lnTo>
                  <a:lnTo>
                    <a:pt x="130422" y="318119"/>
                  </a:lnTo>
                  <a:lnTo>
                    <a:pt x="116566" y="316154"/>
                  </a:lnTo>
                  <a:lnTo>
                    <a:pt x="103365" y="317933"/>
                  </a:lnTo>
                  <a:lnTo>
                    <a:pt x="91469" y="322962"/>
                  </a:lnTo>
                  <a:lnTo>
                    <a:pt x="83269" y="338652"/>
                  </a:lnTo>
                  <a:lnTo>
                    <a:pt x="88006" y="333795"/>
                  </a:lnTo>
                  <a:lnTo>
                    <a:pt x="98669" y="326865"/>
                  </a:lnTo>
                  <a:lnTo>
                    <a:pt x="111149" y="323316"/>
                  </a:lnTo>
                  <a:lnTo>
                    <a:pt x="113263" y="323108"/>
                  </a:lnTo>
                  <a:lnTo>
                    <a:pt x="113263" y="339425"/>
                  </a:lnTo>
                  <a:lnTo>
                    <a:pt x="108051" y="340057"/>
                  </a:lnTo>
                  <a:lnTo>
                    <a:pt x="103246" y="342164"/>
                  </a:lnTo>
                  <a:lnTo>
                    <a:pt x="99264" y="345325"/>
                  </a:lnTo>
                  <a:lnTo>
                    <a:pt x="94527" y="350171"/>
                  </a:lnTo>
                  <a:lnTo>
                    <a:pt x="91438" y="354186"/>
                  </a:lnTo>
                  <a:lnTo>
                    <a:pt x="89379" y="359102"/>
                  </a:lnTo>
                  <a:lnTo>
                    <a:pt x="88761" y="364522"/>
                  </a:lnTo>
                  <a:lnTo>
                    <a:pt x="88830" y="371334"/>
                  </a:lnTo>
                  <a:lnTo>
                    <a:pt x="89447" y="376684"/>
                  </a:lnTo>
                  <a:lnTo>
                    <a:pt x="91507" y="381600"/>
                  </a:lnTo>
                  <a:lnTo>
                    <a:pt x="94665" y="385603"/>
                  </a:lnTo>
                  <a:lnTo>
                    <a:pt x="83406" y="397133"/>
                  </a:lnTo>
                  <a:lnTo>
                    <a:pt x="76713" y="386431"/>
                  </a:lnTo>
                  <a:lnTo>
                    <a:pt x="73174" y="373915"/>
                  </a:lnTo>
                  <a:lnTo>
                    <a:pt x="72548" y="393140"/>
                  </a:lnTo>
                  <a:lnTo>
                    <a:pt x="80867" y="404379"/>
                  </a:lnTo>
                  <a:close/>
                </a:path>
                <a:path w="231690" h="863802">
                  <a:moveTo>
                    <a:pt x="113469" y="355450"/>
                  </a:moveTo>
                  <a:lnTo>
                    <a:pt x="113537" y="369649"/>
                  </a:lnTo>
                  <a:lnTo>
                    <a:pt x="115400" y="372247"/>
                  </a:lnTo>
                  <a:lnTo>
                    <a:pt x="123424" y="375560"/>
                  </a:lnTo>
                  <a:lnTo>
                    <a:pt x="126865" y="374003"/>
                  </a:lnTo>
                  <a:lnTo>
                    <a:pt x="125344" y="370492"/>
                  </a:lnTo>
                  <a:lnTo>
                    <a:pt x="118829" y="367823"/>
                  </a:lnTo>
                  <a:lnTo>
                    <a:pt x="118829" y="355450"/>
                  </a:lnTo>
                  <a:lnTo>
                    <a:pt x="117595" y="352711"/>
                  </a:lnTo>
                  <a:lnTo>
                    <a:pt x="114646" y="352711"/>
                  </a:lnTo>
                  <a:lnTo>
                    <a:pt x="113469" y="355450"/>
                  </a:lnTo>
                  <a:close/>
                </a:path>
                <a:path w="231690" h="863802">
                  <a:moveTo>
                    <a:pt x="68922" y="140255"/>
                  </a:moveTo>
                  <a:lnTo>
                    <a:pt x="68922" y="149257"/>
                  </a:lnTo>
                  <a:lnTo>
                    <a:pt x="165167" y="149257"/>
                  </a:lnTo>
                  <a:lnTo>
                    <a:pt x="165167" y="140255"/>
                  </a:lnTo>
                  <a:lnTo>
                    <a:pt x="68922" y="140255"/>
                  </a:lnTo>
                  <a:close/>
                </a:path>
                <a:path w="231690" h="863802">
                  <a:moveTo>
                    <a:pt x="68578" y="193258"/>
                  </a:moveTo>
                  <a:lnTo>
                    <a:pt x="66956" y="205059"/>
                  </a:lnTo>
                  <a:lnTo>
                    <a:pt x="63840" y="217133"/>
                  </a:lnTo>
                  <a:lnTo>
                    <a:pt x="59422" y="229402"/>
                  </a:lnTo>
                  <a:lnTo>
                    <a:pt x="53888" y="241836"/>
                  </a:lnTo>
                  <a:lnTo>
                    <a:pt x="179992" y="241836"/>
                  </a:lnTo>
                  <a:lnTo>
                    <a:pt x="174266" y="229632"/>
                  </a:lnTo>
                  <a:lnTo>
                    <a:pt x="169779" y="217419"/>
                  </a:lnTo>
                  <a:lnTo>
                    <a:pt x="166792" y="205297"/>
                  </a:lnTo>
                  <a:lnTo>
                    <a:pt x="165510" y="193258"/>
                  </a:lnTo>
                  <a:lnTo>
                    <a:pt x="68578" y="193258"/>
                  </a:lnTo>
                  <a:close/>
                </a:path>
                <a:path w="231690" h="863802">
                  <a:moveTo>
                    <a:pt x="164550" y="135479"/>
                  </a:moveTo>
                  <a:lnTo>
                    <a:pt x="154042" y="120070"/>
                  </a:lnTo>
                  <a:lnTo>
                    <a:pt x="145181" y="105715"/>
                  </a:lnTo>
                  <a:lnTo>
                    <a:pt x="137825" y="92312"/>
                  </a:lnTo>
                  <a:lnTo>
                    <a:pt x="131829" y="79760"/>
                  </a:lnTo>
                  <a:lnTo>
                    <a:pt x="127049" y="67955"/>
                  </a:lnTo>
                  <a:lnTo>
                    <a:pt x="123341" y="56797"/>
                  </a:lnTo>
                  <a:lnTo>
                    <a:pt x="120563" y="46181"/>
                  </a:lnTo>
                  <a:lnTo>
                    <a:pt x="118570" y="36007"/>
                  </a:lnTo>
                  <a:lnTo>
                    <a:pt x="117218" y="26172"/>
                  </a:lnTo>
                  <a:lnTo>
                    <a:pt x="116364" y="16574"/>
                  </a:lnTo>
                  <a:lnTo>
                    <a:pt x="116154" y="13215"/>
                  </a:lnTo>
                  <a:lnTo>
                    <a:pt x="115357" y="25722"/>
                  </a:lnTo>
                  <a:lnTo>
                    <a:pt x="113762" y="38062"/>
                  </a:lnTo>
                  <a:lnTo>
                    <a:pt x="111369" y="50244"/>
                  </a:lnTo>
                  <a:lnTo>
                    <a:pt x="108178" y="62281"/>
                  </a:lnTo>
                  <a:lnTo>
                    <a:pt x="104188" y="74184"/>
                  </a:lnTo>
                  <a:lnTo>
                    <a:pt x="99398" y="85964"/>
                  </a:lnTo>
                  <a:lnTo>
                    <a:pt x="93807" y="97632"/>
                  </a:lnTo>
                  <a:lnTo>
                    <a:pt x="87416" y="109200"/>
                  </a:lnTo>
                  <a:lnTo>
                    <a:pt x="80222" y="120679"/>
                  </a:lnTo>
                  <a:lnTo>
                    <a:pt x="72225" y="132081"/>
                  </a:lnTo>
                  <a:lnTo>
                    <a:pt x="69676" y="135479"/>
                  </a:lnTo>
                  <a:lnTo>
                    <a:pt x="164550" y="135479"/>
                  </a:lnTo>
                  <a:close/>
                </a:path>
                <a:path w="231690" h="863802">
                  <a:moveTo>
                    <a:pt x="113606" y="13075"/>
                  </a:moveTo>
                  <a:lnTo>
                    <a:pt x="120612" y="13075"/>
                  </a:lnTo>
                  <a:lnTo>
                    <a:pt x="123493" y="10125"/>
                  </a:lnTo>
                  <a:lnTo>
                    <a:pt x="123493" y="2961"/>
                  </a:lnTo>
                  <a:lnTo>
                    <a:pt x="120612" y="0"/>
                  </a:lnTo>
                  <a:lnTo>
                    <a:pt x="113537" y="0"/>
                  </a:lnTo>
                  <a:lnTo>
                    <a:pt x="110725" y="2961"/>
                  </a:lnTo>
                  <a:lnTo>
                    <a:pt x="110725" y="10125"/>
                  </a:lnTo>
                  <a:lnTo>
                    <a:pt x="113606" y="13075"/>
                  </a:lnTo>
                  <a:close/>
                </a:path>
                <a:path w="231690" h="863802">
                  <a:moveTo>
                    <a:pt x="165235" y="154735"/>
                  </a:moveTo>
                  <a:lnTo>
                    <a:pt x="68991" y="154735"/>
                  </a:lnTo>
                  <a:lnTo>
                    <a:pt x="68991" y="190519"/>
                  </a:lnTo>
                  <a:lnTo>
                    <a:pt x="78327" y="190519"/>
                  </a:lnTo>
                  <a:lnTo>
                    <a:pt x="78327" y="162191"/>
                  </a:lnTo>
                  <a:lnTo>
                    <a:pt x="79494" y="159523"/>
                  </a:lnTo>
                  <a:lnTo>
                    <a:pt x="82513" y="159523"/>
                  </a:lnTo>
                  <a:lnTo>
                    <a:pt x="83680" y="162191"/>
                  </a:lnTo>
                  <a:lnTo>
                    <a:pt x="83681" y="190519"/>
                  </a:lnTo>
                  <a:lnTo>
                    <a:pt x="94871" y="190519"/>
                  </a:lnTo>
                  <a:lnTo>
                    <a:pt x="94871" y="162191"/>
                  </a:lnTo>
                  <a:lnTo>
                    <a:pt x="96038" y="159523"/>
                  </a:lnTo>
                  <a:lnTo>
                    <a:pt x="99057" y="159523"/>
                  </a:lnTo>
                  <a:lnTo>
                    <a:pt x="100224" y="162191"/>
                  </a:lnTo>
                  <a:lnTo>
                    <a:pt x="100224" y="190519"/>
                  </a:lnTo>
                  <a:lnTo>
                    <a:pt x="106472" y="190519"/>
                  </a:lnTo>
                  <a:lnTo>
                    <a:pt x="106472" y="162191"/>
                  </a:lnTo>
                  <a:lnTo>
                    <a:pt x="107639" y="159523"/>
                  </a:lnTo>
                  <a:lnTo>
                    <a:pt x="110657" y="159523"/>
                  </a:lnTo>
                  <a:lnTo>
                    <a:pt x="111823" y="162191"/>
                  </a:lnTo>
                  <a:lnTo>
                    <a:pt x="111823" y="190519"/>
                  </a:lnTo>
                  <a:lnTo>
                    <a:pt x="123218" y="190519"/>
                  </a:lnTo>
                  <a:lnTo>
                    <a:pt x="123218" y="162191"/>
                  </a:lnTo>
                  <a:lnTo>
                    <a:pt x="124384" y="159523"/>
                  </a:lnTo>
                  <a:lnTo>
                    <a:pt x="127413" y="159523"/>
                  </a:lnTo>
                  <a:lnTo>
                    <a:pt x="128579" y="162191"/>
                  </a:lnTo>
                  <a:lnTo>
                    <a:pt x="128579" y="190519"/>
                  </a:lnTo>
                  <a:lnTo>
                    <a:pt x="134820" y="190519"/>
                  </a:lnTo>
                  <a:lnTo>
                    <a:pt x="134820" y="162191"/>
                  </a:lnTo>
                  <a:lnTo>
                    <a:pt x="135986" y="159523"/>
                  </a:lnTo>
                  <a:lnTo>
                    <a:pt x="139015" y="159523"/>
                  </a:lnTo>
                  <a:lnTo>
                    <a:pt x="140181" y="162191"/>
                  </a:lnTo>
                  <a:lnTo>
                    <a:pt x="140181" y="190519"/>
                  </a:lnTo>
                  <a:lnTo>
                    <a:pt x="151371" y="190519"/>
                  </a:lnTo>
                  <a:lnTo>
                    <a:pt x="151371" y="162191"/>
                  </a:lnTo>
                  <a:lnTo>
                    <a:pt x="152537" y="159523"/>
                  </a:lnTo>
                  <a:lnTo>
                    <a:pt x="155554" y="159523"/>
                  </a:lnTo>
                  <a:lnTo>
                    <a:pt x="156720" y="162191"/>
                  </a:lnTo>
                  <a:lnTo>
                    <a:pt x="156720" y="190519"/>
                  </a:lnTo>
                  <a:lnTo>
                    <a:pt x="165235" y="190519"/>
                  </a:lnTo>
                  <a:lnTo>
                    <a:pt x="165235" y="154735"/>
                  </a:lnTo>
                  <a:close/>
                </a:path>
                <a:path w="231690" h="863802">
                  <a:moveTo>
                    <a:pt x="106472" y="472576"/>
                  </a:moveTo>
                  <a:lnTo>
                    <a:pt x="106472" y="445711"/>
                  </a:lnTo>
                  <a:lnTo>
                    <a:pt x="109148" y="444588"/>
                  </a:lnTo>
                  <a:lnTo>
                    <a:pt x="111823" y="447058"/>
                  </a:lnTo>
                  <a:lnTo>
                    <a:pt x="111823" y="472576"/>
                  </a:lnTo>
                  <a:lnTo>
                    <a:pt x="123081" y="472576"/>
                  </a:lnTo>
                  <a:lnTo>
                    <a:pt x="123081" y="445711"/>
                  </a:lnTo>
                  <a:lnTo>
                    <a:pt x="125767" y="444588"/>
                  </a:lnTo>
                  <a:lnTo>
                    <a:pt x="128442" y="447058"/>
                  </a:lnTo>
                  <a:lnTo>
                    <a:pt x="128442" y="472576"/>
                  </a:lnTo>
                  <a:lnTo>
                    <a:pt x="134614" y="472576"/>
                  </a:lnTo>
                  <a:lnTo>
                    <a:pt x="134614" y="445711"/>
                  </a:lnTo>
                  <a:lnTo>
                    <a:pt x="137289" y="444588"/>
                  </a:lnTo>
                  <a:lnTo>
                    <a:pt x="139975" y="447058"/>
                  </a:lnTo>
                  <a:lnTo>
                    <a:pt x="139975" y="472576"/>
                  </a:lnTo>
                  <a:lnTo>
                    <a:pt x="151234" y="472576"/>
                  </a:lnTo>
                  <a:lnTo>
                    <a:pt x="151234" y="445711"/>
                  </a:lnTo>
                  <a:lnTo>
                    <a:pt x="153908" y="444588"/>
                  </a:lnTo>
                  <a:lnTo>
                    <a:pt x="156583" y="447058"/>
                  </a:lnTo>
                  <a:lnTo>
                    <a:pt x="156583" y="472576"/>
                  </a:lnTo>
                  <a:lnTo>
                    <a:pt x="162767" y="472576"/>
                  </a:lnTo>
                  <a:lnTo>
                    <a:pt x="162767" y="445711"/>
                  </a:lnTo>
                  <a:lnTo>
                    <a:pt x="165441" y="444588"/>
                  </a:lnTo>
                  <a:lnTo>
                    <a:pt x="168116" y="447058"/>
                  </a:lnTo>
                  <a:lnTo>
                    <a:pt x="168116" y="472576"/>
                  </a:lnTo>
                  <a:lnTo>
                    <a:pt x="206487" y="472576"/>
                  </a:lnTo>
                  <a:lnTo>
                    <a:pt x="215619" y="435879"/>
                  </a:lnTo>
                  <a:lnTo>
                    <a:pt x="220774" y="435879"/>
                  </a:lnTo>
                  <a:lnTo>
                    <a:pt x="220774" y="425402"/>
                  </a:lnTo>
                  <a:lnTo>
                    <a:pt x="210339" y="425402"/>
                  </a:lnTo>
                  <a:lnTo>
                    <a:pt x="210339" y="319666"/>
                  </a:lnTo>
                  <a:lnTo>
                    <a:pt x="211436" y="319666"/>
                  </a:lnTo>
                  <a:lnTo>
                    <a:pt x="231690" y="297660"/>
                  </a:lnTo>
                  <a:lnTo>
                    <a:pt x="183078" y="297660"/>
                  </a:lnTo>
                  <a:lnTo>
                    <a:pt x="183078" y="263281"/>
                  </a:lnTo>
                  <a:lnTo>
                    <a:pt x="169556" y="309611"/>
                  </a:lnTo>
                  <a:lnTo>
                    <a:pt x="172859" y="311016"/>
                  </a:lnTo>
                  <a:lnTo>
                    <a:pt x="174231" y="314399"/>
                  </a:lnTo>
                  <a:lnTo>
                    <a:pt x="174231" y="421247"/>
                  </a:lnTo>
                  <a:lnTo>
                    <a:pt x="173682" y="423787"/>
                  </a:lnTo>
                  <a:lnTo>
                    <a:pt x="170859" y="426034"/>
                  </a:lnTo>
                  <a:lnTo>
                    <a:pt x="63567" y="426034"/>
                  </a:lnTo>
                  <a:lnTo>
                    <a:pt x="66794" y="445711"/>
                  </a:lnTo>
                  <a:lnTo>
                    <a:pt x="69471" y="444588"/>
                  </a:lnTo>
                  <a:lnTo>
                    <a:pt x="72148" y="447058"/>
                  </a:lnTo>
                  <a:lnTo>
                    <a:pt x="72148" y="472576"/>
                  </a:lnTo>
                  <a:lnTo>
                    <a:pt x="78327" y="472576"/>
                  </a:lnTo>
                  <a:lnTo>
                    <a:pt x="78327" y="445711"/>
                  </a:lnTo>
                  <a:lnTo>
                    <a:pt x="81004" y="444588"/>
                  </a:lnTo>
                  <a:lnTo>
                    <a:pt x="83681" y="447058"/>
                  </a:lnTo>
                  <a:lnTo>
                    <a:pt x="83681" y="472576"/>
                  </a:lnTo>
                  <a:lnTo>
                    <a:pt x="94939" y="472576"/>
                  </a:lnTo>
                  <a:lnTo>
                    <a:pt x="94939" y="445711"/>
                  </a:lnTo>
                  <a:lnTo>
                    <a:pt x="97616" y="444588"/>
                  </a:lnTo>
                  <a:lnTo>
                    <a:pt x="100293" y="447058"/>
                  </a:lnTo>
                  <a:lnTo>
                    <a:pt x="100293" y="472576"/>
                  </a:lnTo>
                  <a:lnTo>
                    <a:pt x="106472" y="472576"/>
                  </a:lnTo>
                  <a:close/>
                </a:path>
                <a:path w="231690" h="863802">
                  <a:moveTo>
                    <a:pt x="16201" y="435879"/>
                  </a:moveTo>
                  <a:lnTo>
                    <a:pt x="28557" y="472576"/>
                  </a:lnTo>
                  <a:lnTo>
                    <a:pt x="66794" y="472576"/>
                  </a:lnTo>
                  <a:lnTo>
                    <a:pt x="66794" y="445711"/>
                  </a:lnTo>
                  <a:lnTo>
                    <a:pt x="63567" y="426034"/>
                  </a:lnTo>
                  <a:lnTo>
                    <a:pt x="60272" y="424630"/>
                  </a:lnTo>
                  <a:lnTo>
                    <a:pt x="58899" y="421247"/>
                  </a:lnTo>
                  <a:lnTo>
                    <a:pt x="58899" y="314399"/>
                  </a:lnTo>
                  <a:lnTo>
                    <a:pt x="59449" y="311859"/>
                  </a:lnTo>
                  <a:lnTo>
                    <a:pt x="62263" y="309611"/>
                  </a:lnTo>
                  <a:lnTo>
                    <a:pt x="169556" y="309611"/>
                  </a:lnTo>
                  <a:lnTo>
                    <a:pt x="183078" y="263281"/>
                  </a:lnTo>
                  <a:lnTo>
                    <a:pt x="168047" y="263281"/>
                  </a:lnTo>
                  <a:lnTo>
                    <a:pt x="168047" y="286411"/>
                  </a:lnTo>
                  <a:lnTo>
                    <a:pt x="166813" y="289150"/>
                  </a:lnTo>
                  <a:lnTo>
                    <a:pt x="163864" y="289150"/>
                  </a:lnTo>
                  <a:lnTo>
                    <a:pt x="162698" y="286411"/>
                  </a:lnTo>
                  <a:lnTo>
                    <a:pt x="162698" y="263281"/>
                  </a:lnTo>
                  <a:lnTo>
                    <a:pt x="156514" y="263281"/>
                  </a:lnTo>
                  <a:lnTo>
                    <a:pt x="156514" y="286411"/>
                  </a:lnTo>
                  <a:lnTo>
                    <a:pt x="155280" y="289150"/>
                  </a:lnTo>
                  <a:lnTo>
                    <a:pt x="152331" y="289150"/>
                  </a:lnTo>
                  <a:lnTo>
                    <a:pt x="151165" y="286411"/>
                  </a:lnTo>
                  <a:lnTo>
                    <a:pt x="151165" y="263281"/>
                  </a:lnTo>
                  <a:lnTo>
                    <a:pt x="139906" y="263281"/>
                  </a:lnTo>
                  <a:lnTo>
                    <a:pt x="139906" y="286411"/>
                  </a:lnTo>
                  <a:lnTo>
                    <a:pt x="138672" y="289150"/>
                  </a:lnTo>
                  <a:lnTo>
                    <a:pt x="135712" y="289150"/>
                  </a:lnTo>
                  <a:lnTo>
                    <a:pt x="134546" y="286411"/>
                  </a:lnTo>
                  <a:lnTo>
                    <a:pt x="134546" y="263281"/>
                  </a:lnTo>
                  <a:lnTo>
                    <a:pt x="128373" y="263281"/>
                  </a:lnTo>
                  <a:lnTo>
                    <a:pt x="128373" y="286411"/>
                  </a:lnTo>
                  <a:lnTo>
                    <a:pt x="127208" y="289150"/>
                  </a:lnTo>
                  <a:lnTo>
                    <a:pt x="124179" y="289150"/>
                  </a:lnTo>
                  <a:lnTo>
                    <a:pt x="123013" y="286411"/>
                  </a:lnTo>
                  <a:lnTo>
                    <a:pt x="123013" y="263281"/>
                  </a:lnTo>
                  <a:lnTo>
                    <a:pt x="111754" y="263281"/>
                  </a:lnTo>
                  <a:lnTo>
                    <a:pt x="111754" y="286411"/>
                  </a:lnTo>
                  <a:lnTo>
                    <a:pt x="110520" y="289150"/>
                  </a:lnTo>
                  <a:lnTo>
                    <a:pt x="107571" y="289150"/>
                  </a:lnTo>
                  <a:lnTo>
                    <a:pt x="106404" y="286411"/>
                  </a:lnTo>
                  <a:lnTo>
                    <a:pt x="106404" y="263281"/>
                  </a:lnTo>
                  <a:lnTo>
                    <a:pt x="100224" y="263281"/>
                  </a:lnTo>
                  <a:lnTo>
                    <a:pt x="100225" y="286411"/>
                  </a:lnTo>
                  <a:lnTo>
                    <a:pt x="98989" y="289150"/>
                  </a:lnTo>
                  <a:lnTo>
                    <a:pt x="96038" y="289150"/>
                  </a:lnTo>
                  <a:lnTo>
                    <a:pt x="94871" y="286411"/>
                  </a:lnTo>
                  <a:lnTo>
                    <a:pt x="94871" y="263281"/>
                  </a:lnTo>
                  <a:lnTo>
                    <a:pt x="83612" y="263281"/>
                  </a:lnTo>
                  <a:lnTo>
                    <a:pt x="83612" y="286411"/>
                  </a:lnTo>
                  <a:lnTo>
                    <a:pt x="82376" y="289150"/>
                  </a:lnTo>
                  <a:lnTo>
                    <a:pt x="79425" y="289150"/>
                  </a:lnTo>
                  <a:lnTo>
                    <a:pt x="78258" y="286411"/>
                  </a:lnTo>
                  <a:lnTo>
                    <a:pt x="78258" y="263281"/>
                  </a:lnTo>
                  <a:lnTo>
                    <a:pt x="72079" y="263281"/>
                  </a:lnTo>
                  <a:lnTo>
                    <a:pt x="72079" y="286411"/>
                  </a:lnTo>
                  <a:lnTo>
                    <a:pt x="70843" y="289150"/>
                  </a:lnTo>
                  <a:lnTo>
                    <a:pt x="67892" y="289150"/>
                  </a:lnTo>
                  <a:lnTo>
                    <a:pt x="66725" y="286411"/>
                  </a:lnTo>
                  <a:lnTo>
                    <a:pt x="66725" y="263281"/>
                  </a:lnTo>
                  <a:lnTo>
                    <a:pt x="51073" y="263281"/>
                  </a:lnTo>
                  <a:lnTo>
                    <a:pt x="51073" y="297660"/>
                  </a:lnTo>
                  <a:lnTo>
                    <a:pt x="0" y="297660"/>
                  </a:lnTo>
                  <a:lnTo>
                    <a:pt x="20662" y="319666"/>
                  </a:lnTo>
                  <a:lnTo>
                    <a:pt x="21349" y="319666"/>
                  </a:lnTo>
                  <a:lnTo>
                    <a:pt x="21349" y="425402"/>
                  </a:lnTo>
                  <a:lnTo>
                    <a:pt x="10914" y="425402"/>
                  </a:lnTo>
                  <a:lnTo>
                    <a:pt x="10914" y="435879"/>
                  </a:lnTo>
                  <a:lnTo>
                    <a:pt x="16201" y="435879"/>
                  </a:lnTo>
                  <a:close/>
                </a:path>
                <a:path w="231690" h="863802">
                  <a:moveTo>
                    <a:pt x="87594" y="520030"/>
                  </a:moveTo>
                  <a:lnTo>
                    <a:pt x="87595" y="707166"/>
                  </a:lnTo>
                  <a:lnTo>
                    <a:pt x="87663" y="628716"/>
                  </a:lnTo>
                  <a:lnTo>
                    <a:pt x="92263" y="623998"/>
                  </a:lnTo>
                  <a:lnTo>
                    <a:pt x="103589" y="623998"/>
                  </a:lnTo>
                  <a:lnTo>
                    <a:pt x="108188" y="628716"/>
                  </a:lnTo>
                  <a:lnTo>
                    <a:pt x="124865" y="825136"/>
                  </a:lnTo>
                  <a:lnTo>
                    <a:pt x="124865" y="746754"/>
                  </a:lnTo>
                  <a:lnTo>
                    <a:pt x="129540" y="741967"/>
                  </a:lnTo>
                  <a:lnTo>
                    <a:pt x="140867" y="741967"/>
                  </a:lnTo>
                  <a:lnTo>
                    <a:pt x="145462" y="746684"/>
                  </a:lnTo>
                  <a:lnTo>
                    <a:pt x="145462" y="819301"/>
                  </a:lnTo>
                  <a:lnTo>
                    <a:pt x="166813" y="829846"/>
                  </a:lnTo>
                  <a:lnTo>
                    <a:pt x="162150" y="825136"/>
                  </a:lnTo>
                  <a:lnTo>
                    <a:pt x="145462" y="628716"/>
                  </a:lnTo>
                  <a:lnTo>
                    <a:pt x="145462" y="707096"/>
                  </a:lnTo>
                  <a:lnTo>
                    <a:pt x="140867" y="711884"/>
                  </a:lnTo>
                  <a:lnTo>
                    <a:pt x="129540" y="711884"/>
                  </a:lnTo>
                  <a:lnTo>
                    <a:pt x="124865" y="707166"/>
                  </a:lnTo>
                  <a:lnTo>
                    <a:pt x="124865" y="514259"/>
                  </a:lnTo>
                  <a:lnTo>
                    <a:pt x="129539" y="509483"/>
                  </a:lnTo>
                  <a:lnTo>
                    <a:pt x="140867" y="509483"/>
                  </a:lnTo>
                  <a:lnTo>
                    <a:pt x="145462" y="514189"/>
                  </a:lnTo>
                  <a:lnTo>
                    <a:pt x="166744" y="509483"/>
                  </a:lnTo>
                  <a:lnTo>
                    <a:pt x="182735" y="514189"/>
                  </a:lnTo>
                  <a:lnTo>
                    <a:pt x="182735" y="592581"/>
                  </a:lnTo>
                  <a:lnTo>
                    <a:pt x="166813" y="597357"/>
                  </a:lnTo>
                  <a:lnTo>
                    <a:pt x="162150" y="514259"/>
                  </a:lnTo>
                  <a:lnTo>
                    <a:pt x="162150" y="701337"/>
                  </a:lnTo>
                  <a:lnTo>
                    <a:pt x="162150" y="628716"/>
                  </a:lnTo>
                  <a:lnTo>
                    <a:pt x="178140" y="623999"/>
                  </a:lnTo>
                  <a:lnTo>
                    <a:pt x="204498" y="863802"/>
                  </a:lnTo>
                  <a:lnTo>
                    <a:pt x="203401" y="478265"/>
                  </a:lnTo>
                  <a:lnTo>
                    <a:pt x="28557" y="478545"/>
                  </a:lnTo>
                  <a:lnTo>
                    <a:pt x="28557" y="863802"/>
                  </a:lnTo>
                  <a:lnTo>
                    <a:pt x="55055" y="829846"/>
                  </a:lnTo>
                  <a:lnTo>
                    <a:pt x="50387" y="825136"/>
                  </a:lnTo>
                  <a:lnTo>
                    <a:pt x="50387" y="746754"/>
                  </a:lnTo>
                  <a:lnTo>
                    <a:pt x="54987" y="741967"/>
                  </a:lnTo>
                  <a:lnTo>
                    <a:pt x="66382" y="741967"/>
                  </a:lnTo>
                  <a:lnTo>
                    <a:pt x="70981" y="746684"/>
                  </a:lnTo>
                  <a:lnTo>
                    <a:pt x="70981" y="825066"/>
                  </a:lnTo>
                  <a:lnTo>
                    <a:pt x="92263" y="829846"/>
                  </a:lnTo>
                  <a:lnTo>
                    <a:pt x="87595" y="825136"/>
                  </a:lnTo>
                  <a:lnTo>
                    <a:pt x="70981" y="628716"/>
                  </a:lnTo>
                  <a:lnTo>
                    <a:pt x="70981" y="707096"/>
                  </a:lnTo>
                  <a:lnTo>
                    <a:pt x="66381" y="711884"/>
                  </a:lnTo>
                  <a:lnTo>
                    <a:pt x="55055" y="711884"/>
                  </a:lnTo>
                  <a:lnTo>
                    <a:pt x="50387" y="707166"/>
                  </a:lnTo>
                  <a:lnTo>
                    <a:pt x="50387" y="514259"/>
                  </a:lnTo>
                  <a:lnTo>
                    <a:pt x="54987" y="509483"/>
                  </a:lnTo>
                  <a:lnTo>
                    <a:pt x="66381" y="509483"/>
                  </a:lnTo>
                  <a:lnTo>
                    <a:pt x="70981" y="514189"/>
                  </a:lnTo>
                  <a:lnTo>
                    <a:pt x="92262" y="509483"/>
                  </a:lnTo>
                  <a:lnTo>
                    <a:pt x="103589" y="509483"/>
                  </a:lnTo>
                  <a:lnTo>
                    <a:pt x="108188" y="514189"/>
                  </a:lnTo>
                  <a:lnTo>
                    <a:pt x="108188" y="592581"/>
                  </a:lnTo>
                  <a:lnTo>
                    <a:pt x="103589" y="597357"/>
                  </a:lnTo>
                  <a:lnTo>
                    <a:pt x="92263" y="597357"/>
                  </a:lnTo>
                  <a:lnTo>
                    <a:pt x="87594" y="592651"/>
                  </a:lnTo>
                  <a:lnTo>
                    <a:pt x="87594" y="520030"/>
                  </a:lnTo>
                  <a:close/>
                </a:path>
                <a:path w="231690" h="863802">
                  <a:moveTo>
                    <a:pt x="51073" y="247256"/>
                  </a:moveTo>
                  <a:lnTo>
                    <a:pt x="51073" y="258294"/>
                  </a:lnTo>
                  <a:lnTo>
                    <a:pt x="183009" y="258294"/>
                  </a:lnTo>
                  <a:lnTo>
                    <a:pt x="183009" y="247256"/>
                  </a:lnTo>
                  <a:lnTo>
                    <a:pt x="51073" y="247256"/>
                  </a:lnTo>
                  <a:close/>
                </a:path>
                <a:path w="231690" h="863802">
                  <a:moveTo>
                    <a:pt x="70981" y="520030"/>
                  </a:moveTo>
                  <a:lnTo>
                    <a:pt x="70981" y="592581"/>
                  </a:lnTo>
                  <a:lnTo>
                    <a:pt x="66381" y="597357"/>
                  </a:lnTo>
                  <a:lnTo>
                    <a:pt x="55055" y="597357"/>
                  </a:lnTo>
                  <a:lnTo>
                    <a:pt x="50387" y="592651"/>
                  </a:lnTo>
                  <a:lnTo>
                    <a:pt x="50387" y="514259"/>
                  </a:lnTo>
                  <a:lnTo>
                    <a:pt x="50387" y="701337"/>
                  </a:lnTo>
                  <a:lnTo>
                    <a:pt x="50387" y="628716"/>
                  </a:lnTo>
                  <a:lnTo>
                    <a:pt x="54987" y="623998"/>
                  </a:lnTo>
                  <a:lnTo>
                    <a:pt x="66381" y="623998"/>
                  </a:lnTo>
                  <a:lnTo>
                    <a:pt x="70981" y="628716"/>
                  </a:lnTo>
                  <a:lnTo>
                    <a:pt x="87595" y="825136"/>
                  </a:lnTo>
                  <a:lnTo>
                    <a:pt x="87663" y="746754"/>
                  </a:lnTo>
                  <a:lnTo>
                    <a:pt x="92263" y="741967"/>
                  </a:lnTo>
                  <a:lnTo>
                    <a:pt x="103589" y="741967"/>
                  </a:lnTo>
                  <a:lnTo>
                    <a:pt x="108188" y="746684"/>
                  </a:lnTo>
                  <a:lnTo>
                    <a:pt x="108188" y="825066"/>
                  </a:lnTo>
                  <a:lnTo>
                    <a:pt x="103589" y="829846"/>
                  </a:lnTo>
                  <a:lnTo>
                    <a:pt x="92263" y="829846"/>
                  </a:lnTo>
                  <a:lnTo>
                    <a:pt x="70981" y="825066"/>
                  </a:lnTo>
                  <a:lnTo>
                    <a:pt x="66382" y="829846"/>
                  </a:lnTo>
                  <a:lnTo>
                    <a:pt x="55055" y="829846"/>
                  </a:lnTo>
                  <a:lnTo>
                    <a:pt x="28557" y="863802"/>
                  </a:lnTo>
                  <a:lnTo>
                    <a:pt x="204498" y="863802"/>
                  </a:lnTo>
                  <a:lnTo>
                    <a:pt x="182735" y="628716"/>
                  </a:lnTo>
                  <a:lnTo>
                    <a:pt x="182735" y="707096"/>
                  </a:lnTo>
                  <a:lnTo>
                    <a:pt x="178140" y="711884"/>
                  </a:lnTo>
                  <a:lnTo>
                    <a:pt x="166813" y="711884"/>
                  </a:lnTo>
                  <a:lnTo>
                    <a:pt x="162150" y="707166"/>
                  </a:lnTo>
                  <a:lnTo>
                    <a:pt x="162150" y="514259"/>
                  </a:lnTo>
                  <a:lnTo>
                    <a:pt x="166744" y="509483"/>
                  </a:lnTo>
                  <a:lnTo>
                    <a:pt x="145462" y="514189"/>
                  </a:lnTo>
                  <a:lnTo>
                    <a:pt x="145462" y="592581"/>
                  </a:lnTo>
                  <a:lnTo>
                    <a:pt x="129540" y="597357"/>
                  </a:lnTo>
                  <a:lnTo>
                    <a:pt x="124865" y="514259"/>
                  </a:lnTo>
                  <a:lnTo>
                    <a:pt x="124865" y="701337"/>
                  </a:lnTo>
                  <a:lnTo>
                    <a:pt x="124865" y="628716"/>
                  </a:lnTo>
                  <a:lnTo>
                    <a:pt x="140867" y="623998"/>
                  </a:lnTo>
                  <a:lnTo>
                    <a:pt x="162150" y="825136"/>
                  </a:lnTo>
                  <a:lnTo>
                    <a:pt x="162150" y="746755"/>
                  </a:lnTo>
                  <a:lnTo>
                    <a:pt x="166745" y="741967"/>
                  </a:lnTo>
                  <a:lnTo>
                    <a:pt x="178140" y="741967"/>
                  </a:lnTo>
                  <a:lnTo>
                    <a:pt x="182735" y="746684"/>
                  </a:lnTo>
                  <a:lnTo>
                    <a:pt x="182735" y="825066"/>
                  </a:lnTo>
                  <a:lnTo>
                    <a:pt x="178140" y="829846"/>
                  </a:lnTo>
                  <a:lnTo>
                    <a:pt x="166813" y="829846"/>
                  </a:lnTo>
                  <a:lnTo>
                    <a:pt x="145462" y="819301"/>
                  </a:lnTo>
                  <a:lnTo>
                    <a:pt x="145462" y="825066"/>
                  </a:lnTo>
                  <a:lnTo>
                    <a:pt x="140867" y="829846"/>
                  </a:lnTo>
                  <a:lnTo>
                    <a:pt x="129540" y="829846"/>
                  </a:lnTo>
                  <a:lnTo>
                    <a:pt x="124865" y="825136"/>
                  </a:lnTo>
                  <a:lnTo>
                    <a:pt x="108188" y="628716"/>
                  </a:lnTo>
                  <a:lnTo>
                    <a:pt x="108188" y="707096"/>
                  </a:lnTo>
                  <a:lnTo>
                    <a:pt x="103589" y="711884"/>
                  </a:lnTo>
                  <a:lnTo>
                    <a:pt x="92263" y="711884"/>
                  </a:lnTo>
                  <a:lnTo>
                    <a:pt x="87595" y="707166"/>
                  </a:lnTo>
                  <a:lnTo>
                    <a:pt x="87663" y="514259"/>
                  </a:lnTo>
                  <a:lnTo>
                    <a:pt x="92262" y="509483"/>
                  </a:lnTo>
                  <a:lnTo>
                    <a:pt x="70981" y="514189"/>
                  </a:lnTo>
                  <a:lnTo>
                    <a:pt x="70981" y="520030"/>
                  </a:lnTo>
                  <a:close/>
                </a:path>
                <a:path w="231690" h="863802">
                  <a:moveTo>
                    <a:pt x="168733" y="315312"/>
                  </a:moveTo>
                  <a:lnTo>
                    <a:pt x="138535" y="315312"/>
                  </a:lnTo>
                  <a:lnTo>
                    <a:pt x="145119" y="318191"/>
                  </a:lnTo>
                  <a:lnTo>
                    <a:pt x="151028" y="322335"/>
                  </a:lnTo>
                  <a:lnTo>
                    <a:pt x="156034" y="327474"/>
                  </a:lnTo>
                  <a:lnTo>
                    <a:pt x="161532" y="333092"/>
                  </a:lnTo>
                  <a:lnTo>
                    <a:pt x="165921" y="339917"/>
                  </a:lnTo>
                  <a:lnTo>
                    <a:pt x="168733" y="347502"/>
                  </a:lnTo>
                  <a:lnTo>
                    <a:pt x="168733" y="315312"/>
                  </a:lnTo>
                  <a:close/>
                </a:path>
                <a:path w="231690" h="863802">
                  <a:moveTo>
                    <a:pt x="168733" y="420404"/>
                  </a:moveTo>
                  <a:lnTo>
                    <a:pt x="168733" y="388214"/>
                  </a:lnTo>
                  <a:lnTo>
                    <a:pt x="165921" y="395799"/>
                  </a:lnTo>
                  <a:lnTo>
                    <a:pt x="161532" y="402623"/>
                  </a:lnTo>
                  <a:lnTo>
                    <a:pt x="156034" y="408242"/>
                  </a:lnTo>
                  <a:lnTo>
                    <a:pt x="151028" y="413381"/>
                  </a:lnTo>
                  <a:lnTo>
                    <a:pt x="145119" y="417524"/>
                  </a:lnTo>
                  <a:lnTo>
                    <a:pt x="138535" y="420404"/>
                  </a:lnTo>
                  <a:lnTo>
                    <a:pt x="168733" y="420404"/>
                  </a:lnTo>
                  <a:close/>
                </a:path>
                <a:path w="231690" h="863802">
                  <a:moveTo>
                    <a:pt x="94596" y="420404"/>
                  </a:moveTo>
                  <a:lnTo>
                    <a:pt x="88006" y="417524"/>
                  </a:lnTo>
                  <a:lnTo>
                    <a:pt x="82102" y="413381"/>
                  </a:lnTo>
                  <a:lnTo>
                    <a:pt x="77091" y="408242"/>
                  </a:lnTo>
                  <a:lnTo>
                    <a:pt x="71599" y="402623"/>
                  </a:lnTo>
                  <a:lnTo>
                    <a:pt x="67205" y="395799"/>
                  </a:lnTo>
                  <a:lnTo>
                    <a:pt x="64391" y="388214"/>
                  </a:lnTo>
                  <a:lnTo>
                    <a:pt x="64391" y="420404"/>
                  </a:lnTo>
                  <a:lnTo>
                    <a:pt x="94596" y="420404"/>
                  </a:lnTo>
                  <a:close/>
                </a:path>
              </a:pathLst>
            </a:custGeom>
            <a:grpFill/>
          </p:spPr>
          <p:txBody>
            <a:bodyPr wrap="square" lIns="0" tIns="0" rIns="0" bIns="0" rtlCol="0">
              <a:noAutofit/>
            </a:bodyPr>
            <a:lstStyle/>
            <a:p>
              <a:r>
                <a:rPr lang="en-US" sz="1803" dirty="0">
                  <a:solidFill>
                    <a:srgbClr val="003573"/>
                  </a:solidFill>
                </a:rPr>
                <a:t> </a:t>
              </a:r>
              <a:endParaRPr sz="1803" dirty="0">
                <a:solidFill>
                  <a:srgbClr val="003573"/>
                </a:solidFill>
              </a:endParaRPr>
            </a:p>
          </p:txBody>
        </p:sp>
        <p:sp>
          <p:nvSpPr>
            <p:cNvPr id="14" name="object 11">
              <a:extLst>
                <a:ext uri="{FF2B5EF4-FFF2-40B4-BE49-F238E27FC236}">
                  <a16:creationId xmlns:a16="http://schemas.microsoft.com/office/drawing/2014/main" id="{3194DA22-CB4C-EE8F-7D39-F77BA7A52005}"/>
                </a:ext>
              </a:extLst>
            </p:cNvPr>
            <p:cNvSpPr/>
            <p:nvPr/>
          </p:nvSpPr>
          <p:spPr>
            <a:xfrm>
              <a:off x="9275271" y="4637543"/>
              <a:ext cx="132181" cy="0"/>
            </a:xfrm>
            <a:custGeom>
              <a:avLst/>
              <a:gdLst/>
              <a:ahLst/>
              <a:cxnLst/>
              <a:rect l="l" t="t" r="r" b="b"/>
              <a:pathLst>
                <a:path w="131936">
                  <a:moveTo>
                    <a:pt x="0" y="0"/>
                  </a:moveTo>
                  <a:lnTo>
                    <a:pt x="131936" y="0"/>
                  </a:lnTo>
                </a:path>
              </a:pathLst>
            </a:custGeom>
            <a:grpFill/>
            <a:ln w="12308">
              <a:solidFill>
                <a:srgbClr val="000000"/>
              </a:solidFill>
            </a:ln>
          </p:spPr>
          <p:txBody>
            <a:bodyPr wrap="square" lIns="0" tIns="0" rIns="0" bIns="0" rtlCol="0">
              <a:noAutofit/>
            </a:bodyPr>
            <a:lstStyle/>
            <a:p>
              <a:endParaRPr sz="1803" dirty="0">
                <a:solidFill>
                  <a:srgbClr val="003573"/>
                </a:solidFill>
              </a:endParaRPr>
            </a:p>
          </p:txBody>
        </p:sp>
        <p:sp>
          <p:nvSpPr>
            <p:cNvPr id="15" name="object 12">
              <a:extLst>
                <a:ext uri="{FF2B5EF4-FFF2-40B4-BE49-F238E27FC236}">
                  <a16:creationId xmlns:a16="http://schemas.microsoft.com/office/drawing/2014/main" id="{607DC249-3257-69FB-3BDD-77198628C159}"/>
                </a:ext>
              </a:extLst>
            </p:cNvPr>
            <p:cNvSpPr/>
            <p:nvPr/>
          </p:nvSpPr>
          <p:spPr>
            <a:xfrm>
              <a:off x="9252713" y="4863451"/>
              <a:ext cx="176268" cy="386253"/>
            </a:xfrm>
            <a:custGeom>
              <a:avLst/>
              <a:gdLst/>
              <a:ahLst/>
              <a:cxnLst/>
              <a:rect l="l" t="t" r="r" b="b"/>
              <a:pathLst>
                <a:path w="175941" h="385537">
                  <a:moveTo>
                    <a:pt x="0" y="280"/>
                  </a:moveTo>
                  <a:lnTo>
                    <a:pt x="0" y="385537"/>
                  </a:lnTo>
                  <a:lnTo>
                    <a:pt x="175941" y="385537"/>
                  </a:lnTo>
                  <a:lnTo>
                    <a:pt x="174843" y="0"/>
                  </a:lnTo>
                  <a:lnTo>
                    <a:pt x="0" y="280"/>
                  </a:lnTo>
                  <a:close/>
                </a:path>
              </a:pathLst>
            </a:custGeom>
            <a:grpFill/>
          </p:spPr>
          <p:txBody>
            <a:bodyPr wrap="square" lIns="0" tIns="0" rIns="0" bIns="0" rtlCol="0">
              <a:noAutofit/>
            </a:bodyPr>
            <a:lstStyle/>
            <a:p>
              <a:endParaRPr sz="1803" dirty="0">
                <a:solidFill>
                  <a:srgbClr val="003573"/>
                </a:solidFill>
              </a:endParaRPr>
            </a:p>
          </p:txBody>
        </p:sp>
        <p:sp>
          <p:nvSpPr>
            <p:cNvPr id="16" name="object 13">
              <a:extLst>
                <a:ext uri="{FF2B5EF4-FFF2-40B4-BE49-F238E27FC236}">
                  <a16:creationId xmlns:a16="http://schemas.microsoft.com/office/drawing/2014/main" id="{20B92BD8-8862-9DAB-28ED-00FB6E6C4A3A}"/>
                </a:ext>
              </a:extLst>
            </p:cNvPr>
            <p:cNvSpPr/>
            <p:nvPr/>
          </p:nvSpPr>
          <p:spPr>
            <a:xfrm>
              <a:off x="9293153" y="4529324"/>
              <a:ext cx="96423" cy="0"/>
            </a:xfrm>
            <a:custGeom>
              <a:avLst/>
              <a:gdLst/>
              <a:ahLst/>
              <a:cxnLst/>
              <a:rect l="l" t="t" r="r" b="b"/>
              <a:pathLst>
                <a:path w="96244">
                  <a:moveTo>
                    <a:pt x="0" y="0"/>
                  </a:moveTo>
                  <a:lnTo>
                    <a:pt x="96244" y="0"/>
                  </a:lnTo>
                </a:path>
              </a:pathLst>
            </a:custGeom>
            <a:grpFill/>
            <a:ln w="10271">
              <a:solidFill>
                <a:srgbClr val="000000"/>
              </a:solidFill>
            </a:ln>
          </p:spPr>
          <p:txBody>
            <a:bodyPr wrap="square" lIns="0" tIns="0" rIns="0" bIns="0" rtlCol="0">
              <a:noAutofit/>
            </a:bodyPr>
            <a:lstStyle/>
            <a:p>
              <a:endParaRPr sz="1803" dirty="0">
                <a:solidFill>
                  <a:srgbClr val="003573"/>
                </a:solidFill>
              </a:endParaRPr>
            </a:p>
          </p:txBody>
        </p:sp>
        <p:sp>
          <p:nvSpPr>
            <p:cNvPr id="17" name="object 3">
              <a:extLst>
                <a:ext uri="{FF2B5EF4-FFF2-40B4-BE49-F238E27FC236}">
                  <a16:creationId xmlns:a16="http://schemas.microsoft.com/office/drawing/2014/main" id="{BDE7B9EF-22DC-2A13-90F1-38F7CA5847C3}"/>
                </a:ext>
              </a:extLst>
            </p:cNvPr>
            <p:cNvSpPr txBox="1"/>
            <p:nvPr/>
          </p:nvSpPr>
          <p:spPr>
            <a:xfrm>
              <a:off x="9293153" y="4389365"/>
              <a:ext cx="96423" cy="152683"/>
            </a:xfrm>
            <a:prstGeom prst="rect">
              <a:avLst/>
            </a:prstGeom>
            <a:grpFill/>
          </p:spPr>
          <p:txBody>
            <a:bodyPr wrap="square" lIns="0" tIns="0" rIns="0" bIns="0" rtlCol="0">
              <a:noAutofit/>
            </a:bodyPr>
            <a:lstStyle/>
            <a:p>
              <a:pPr marL="25448">
                <a:lnSpc>
                  <a:spcPts val="1002"/>
                </a:lnSpc>
              </a:pPr>
              <a:endParaRPr sz="1002" dirty="0">
                <a:solidFill>
                  <a:srgbClr val="003573"/>
                </a:solidFill>
              </a:endParaRPr>
            </a:p>
          </p:txBody>
        </p:sp>
        <p:sp>
          <p:nvSpPr>
            <p:cNvPr id="18" name="object 2">
              <a:extLst>
                <a:ext uri="{FF2B5EF4-FFF2-40B4-BE49-F238E27FC236}">
                  <a16:creationId xmlns:a16="http://schemas.microsoft.com/office/drawing/2014/main" id="{AE125952-3C15-7C02-F508-78C635484CC2}"/>
                </a:ext>
              </a:extLst>
            </p:cNvPr>
            <p:cNvSpPr txBox="1"/>
            <p:nvPr/>
          </p:nvSpPr>
          <p:spPr>
            <a:xfrm>
              <a:off x="9275271" y="4497583"/>
              <a:ext cx="132181" cy="152683"/>
            </a:xfrm>
            <a:prstGeom prst="rect">
              <a:avLst/>
            </a:prstGeom>
            <a:grpFill/>
          </p:spPr>
          <p:txBody>
            <a:bodyPr wrap="square" lIns="0" tIns="0" rIns="0" bIns="0" rtlCol="0">
              <a:noAutofit/>
            </a:bodyPr>
            <a:lstStyle/>
            <a:p>
              <a:pPr marL="25448">
                <a:lnSpc>
                  <a:spcPts val="1002"/>
                </a:lnSpc>
              </a:pPr>
              <a:endParaRPr sz="1002" dirty="0">
                <a:solidFill>
                  <a:srgbClr val="003573"/>
                </a:solidFill>
              </a:endParaRPr>
            </a:p>
          </p:txBody>
        </p:sp>
      </p:grpSp>
      <p:pic>
        <p:nvPicPr>
          <p:cNvPr id="21" name="Graphic 20">
            <a:extLst>
              <a:ext uri="{FF2B5EF4-FFF2-40B4-BE49-F238E27FC236}">
                <a16:creationId xmlns:a16="http://schemas.microsoft.com/office/drawing/2014/main" id="{A61A9A07-A2C4-EC14-30C5-D30F1DFDC30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8820" y="1208306"/>
            <a:ext cx="375063" cy="521571"/>
          </a:xfrm>
          <a:prstGeom prst="rect">
            <a:avLst/>
          </a:prstGeom>
        </p:spPr>
      </p:pic>
      <p:cxnSp>
        <p:nvCxnSpPr>
          <p:cNvPr id="23" name="Straight Connector 22">
            <a:extLst>
              <a:ext uri="{FF2B5EF4-FFF2-40B4-BE49-F238E27FC236}">
                <a16:creationId xmlns:a16="http://schemas.microsoft.com/office/drawing/2014/main" id="{4C78B1A7-840E-03D7-C951-79B31B2021F4}"/>
              </a:ext>
            </a:extLst>
          </p:cNvPr>
          <p:cNvCxnSpPr>
            <a:cxnSpLocks/>
          </p:cNvCxnSpPr>
          <p:nvPr userDrawn="1"/>
        </p:nvCxnSpPr>
        <p:spPr>
          <a:xfrm>
            <a:off x="429097" y="5154752"/>
            <a:ext cx="5594332" cy="0"/>
          </a:xfrm>
          <a:prstGeom prst="line">
            <a:avLst/>
          </a:prstGeom>
          <a:ln>
            <a:solidFill>
              <a:srgbClr val="88AE44"/>
            </a:solidFill>
          </a:ln>
        </p:spPr>
        <p:style>
          <a:lnRef idx="1">
            <a:schemeClr val="accent1"/>
          </a:lnRef>
          <a:fillRef idx="0">
            <a:schemeClr val="accent1"/>
          </a:fillRef>
          <a:effectRef idx="0">
            <a:schemeClr val="accent1"/>
          </a:effectRef>
          <a:fontRef idx="minor">
            <a:schemeClr val="tx1"/>
          </a:fontRef>
        </p:style>
      </p:cxnSp>
      <p:sp>
        <p:nvSpPr>
          <p:cNvPr id="30" name="Content Placeholder 12">
            <a:extLst>
              <a:ext uri="{FF2B5EF4-FFF2-40B4-BE49-F238E27FC236}">
                <a16:creationId xmlns:a16="http://schemas.microsoft.com/office/drawing/2014/main" id="{21ECBD88-0254-4773-4C70-573E6A37E962}"/>
              </a:ext>
            </a:extLst>
          </p:cNvPr>
          <p:cNvSpPr txBox="1">
            <a:spLocks/>
          </p:cNvSpPr>
          <p:nvPr userDrawn="1"/>
        </p:nvSpPr>
        <p:spPr>
          <a:xfrm>
            <a:off x="429099" y="333108"/>
            <a:ext cx="3917932" cy="5215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Medium" panose="020B060303010106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Medium" panose="020B060303010106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Medium" panose="020B060303010106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Medium" panose="020B060303010106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Medium" panose="020B06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rgbClr val="003573"/>
                </a:solidFill>
                <a:latin typeface="Raleway SemiBold" panose="020B0703030101060003" pitchFamily="34" charset="0"/>
              </a:rPr>
              <a:t>Contact Us</a:t>
            </a:r>
            <a:endParaRPr lang="en-IN" sz="2400" dirty="0">
              <a:solidFill>
                <a:srgbClr val="003573"/>
              </a:solidFill>
              <a:latin typeface="Raleway SemiBold" panose="020B0703030101060003" pitchFamily="34" charset="0"/>
            </a:endParaRPr>
          </a:p>
        </p:txBody>
      </p:sp>
      <p:pic>
        <p:nvPicPr>
          <p:cNvPr id="32" name="Graphic 31">
            <a:extLst>
              <a:ext uri="{FF2B5EF4-FFF2-40B4-BE49-F238E27FC236}">
                <a16:creationId xmlns:a16="http://schemas.microsoft.com/office/drawing/2014/main" id="{6F9C2391-D31F-5140-4CAC-F03802462D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34573" y="3920453"/>
            <a:ext cx="371641" cy="368947"/>
          </a:xfrm>
          <a:prstGeom prst="rect">
            <a:avLst/>
          </a:prstGeom>
        </p:spPr>
      </p:pic>
    </p:spTree>
    <p:extLst>
      <p:ext uri="{BB962C8B-B14F-4D97-AF65-F5344CB8AC3E}">
        <p14:creationId xmlns:p14="http://schemas.microsoft.com/office/powerpoint/2010/main" val="10667831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041A64-4237-117B-B40D-11ED7005ED98}"/>
              </a:ext>
            </a:extLst>
          </p:cNvPr>
          <p:cNvGraphicFramePr>
            <a:graphicFrameLocks noChangeAspect="1"/>
          </p:cNvGraphicFramePr>
          <p:nvPr userDrawn="1">
            <p:custDataLst>
              <p:tags r:id="rId9"/>
            </p:custDataLst>
            <p:extLst>
              <p:ext uri="{D42A27DB-BD31-4B8C-83A1-F6EECF244321}">
                <p14:modId xmlns:p14="http://schemas.microsoft.com/office/powerpoint/2010/main" val="11234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6" imgH="428" progId="TCLayout.ActiveDocument.1">
                  <p:embed/>
                </p:oleObj>
              </mc:Choice>
              <mc:Fallback>
                <p:oleObj name="think-cell Slide" r:id="rId10" imgW="426" imgH="428" progId="TCLayout.ActiveDocument.1">
                  <p:embed/>
                  <p:pic>
                    <p:nvPicPr>
                      <p:cNvPr id="8" name="think-cell data - do not delete" hidden="1">
                        <a:extLst>
                          <a:ext uri="{FF2B5EF4-FFF2-40B4-BE49-F238E27FC236}">
                            <a16:creationId xmlns:a16="http://schemas.microsoft.com/office/drawing/2014/main" id="{BF041A64-4237-117B-B40D-11ED7005ED9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6A49989-CDB4-C473-8173-D44A97F0F1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F15C705-9955-8C12-EC73-807263EC2C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EF806D8-5889-A492-CB8E-7E84B554AD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4BB9E-B720-4B36-BEB3-BE09B0EE82A7}" type="datetimeFigureOut">
              <a:rPr lang="en-IN" smtClean="0"/>
              <a:t>03-01-2024</a:t>
            </a:fld>
            <a:endParaRPr lang="en-IN"/>
          </a:p>
        </p:txBody>
      </p:sp>
      <p:sp>
        <p:nvSpPr>
          <p:cNvPr id="5" name="Footer Placeholder 4">
            <a:extLst>
              <a:ext uri="{FF2B5EF4-FFF2-40B4-BE49-F238E27FC236}">
                <a16:creationId xmlns:a16="http://schemas.microsoft.com/office/drawing/2014/main" id="{1596DB71-8D3A-99DF-61C8-1A8DB4BFFA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621167C0-D610-71FC-4434-D190C7CBD4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8FAC2E-16DB-43ED-9CE2-4EFBF940711E}" type="slidenum">
              <a:rPr lang="en-IN" smtClean="0"/>
              <a:t>‹#›</a:t>
            </a:fld>
            <a:endParaRPr lang="en-IN"/>
          </a:p>
        </p:txBody>
      </p:sp>
    </p:spTree>
    <p:extLst>
      <p:ext uri="{BB962C8B-B14F-4D97-AF65-F5344CB8AC3E}">
        <p14:creationId xmlns:p14="http://schemas.microsoft.com/office/powerpoint/2010/main" val="14313622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patent_audit_model_3.html" TargetMode="External"/><Relationship Id="rId3" Type="http://schemas.openxmlformats.org/officeDocument/2006/relationships/image" Target="../media/image20.svg"/><Relationship Id="rId7" Type="http://schemas.openxmlformats.org/officeDocument/2006/relationships/hyperlink" Target="patent_audit_model_6.html" TargetMode="Externa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hyperlink" Target="patent_audit_model_5.html" TargetMode="External"/><Relationship Id="rId5" Type="http://schemas.openxmlformats.org/officeDocument/2006/relationships/hyperlink" Target="patent_audit_model_2.html" TargetMode="External"/><Relationship Id="rId4" Type="http://schemas.openxmlformats.org/officeDocument/2006/relationships/hyperlink" Target="patent_audit_model_4.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row: Pentagon 36">
            <a:extLst>
              <a:ext uri="{FF2B5EF4-FFF2-40B4-BE49-F238E27FC236}">
                <a16:creationId xmlns:a16="http://schemas.microsoft.com/office/drawing/2014/main" id="{7A58A605-EAE9-0C7B-DD9D-9B01000AC05F}"/>
              </a:ext>
            </a:extLst>
          </p:cNvPr>
          <p:cNvSpPr/>
          <p:nvPr/>
        </p:nvSpPr>
        <p:spPr>
          <a:xfrm>
            <a:off x="3547716" y="787997"/>
            <a:ext cx="5753254" cy="4774106"/>
          </a:xfrm>
          <a:prstGeom prst="homePlate">
            <a:avLst>
              <a:gd name="adj" fmla="val 34833"/>
            </a:avLst>
          </a:prstGeom>
          <a:gradFill flip="none" rotWithShape="1">
            <a:gsLst>
              <a:gs pos="0">
                <a:schemeClr val="bg1">
                  <a:lumMod val="95000"/>
                </a:schemeClr>
              </a:gs>
              <a:gs pos="100000">
                <a:schemeClr val="bg1">
                  <a:lumMod val="98000"/>
                  <a:alpha val="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Arrow: Pentagon 7">
            <a:extLst>
              <a:ext uri="{FF2B5EF4-FFF2-40B4-BE49-F238E27FC236}">
                <a16:creationId xmlns:a16="http://schemas.microsoft.com/office/drawing/2014/main" id="{E5CEE9B6-179B-CBC9-B1DF-5CCDD7D2ABA5}"/>
              </a:ext>
            </a:extLst>
          </p:cNvPr>
          <p:cNvSpPr/>
          <p:nvPr/>
        </p:nvSpPr>
        <p:spPr>
          <a:xfrm>
            <a:off x="3300688" y="1478680"/>
            <a:ext cx="5753254" cy="3238047"/>
          </a:xfrm>
          <a:prstGeom prst="homePlate">
            <a:avLst>
              <a:gd name="adj" fmla="val 34833"/>
            </a:avLst>
          </a:prstGeom>
          <a:gradFill flip="none" rotWithShape="1">
            <a:gsLst>
              <a:gs pos="0">
                <a:srgbClr val="00B0F0"/>
              </a:gs>
              <a:gs pos="100000">
                <a:schemeClr val="bg1"/>
              </a:gs>
            </a:gsLst>
            <a:lin ang="108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Rounded Corners 25">
            <a:extLst>
              <a:ext uri="{FF2B5EF4-FFF2-40B4-BE49-F238E27FC236}">
                <a16:creationId xmlns:a16="http://schemas.microsoft.com/office/drawing/2014/main" id="{F067CA58-C0C5-0297-A2AC-5B6680251983}"/>
              </a:ext>
            </a:extLst>
          </p:cNvPr>
          <p:cNvSpPr/>
          <p:nvPr/>
        </p:nvSpPr>
        <p:spPr>
          <a:xfrm>
            <a:off x="325075" y="686300"/>
            <a:ext cx="3064839" cy="5890846"/>
          </a:xfrm>
          <a:prstGeom prst="roundRect">
            <a:avLst>
              <a:gd name="adj" fmla="val 7471"/>
            </a:avLst>
          </a:prstGeom>
          <a:gradFill>
            <a:gsLst>
              <a:gs pos="0">
                <a:schemeClr val="bg1"/>
              </a:gs>
              <a:gs pos="100000">
                <a:srgbClr val="33CCCC">
                  <a:alpha val="7000"/>
                </a:srgbClr>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08000" rIns="0" bIns="0" numCol="1"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srgbClr val="FF0066"/>
                </a:solidFill>
                <a:effectLst/>
                <a:uLnTx/>
                <a:uFillTx/>
                <a:latin typeface="Roboto" panose="02000000000000000000" pitchFamily="2" charset="0"/>
                <a:ea typeface="Roboto" panose="02000000000000000000" pitchFamily="2" charset="0"/>
                <a:cs typeface="Roboto" panose="02000000000000000000" pitchFamily="2" charset="0"/>
              </a:rPr>
              <a:t>Strategic Requirements</a:t>
            </a:r>
          </a:p>
        </p:txBody>
      </p:sp>
      <p:sp>
        <p:nvSpPr>
          <p:cNvPr id="6" name="Title 1">
            <a:extLst>
              <a:ext uri="{FF2B5EF4-FFF2-40B4-BE49-F238E27FC236}">
                <a16:creationId xmlns:a16="http://schemas.microsoft.com/office/drawing/2014/main" id="{F990488F-447E-40AD-71BD-5DD5947BF46C}"/>
              </a:ext>
            </a:extLst>
          </p:cNvPr>
          <p:cNvSpPr txBox="1">
            <a:spLocks/>
          </p:cNvSpPr>
          <p:nvPr/>
        </p:nvSpPr>
        <p:spPr>
          <a:xfrm rot="16200000">
            <a:off x="-1956498" y="3289491"/>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j-cs"/>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j-cs"/>
              </a:rPr>
              <a:t>Audit &amp; Advisory Services</a:t>
            </a:r>
          </a:p>
        </p:txBody>
      </p:sp>
      <p:sp>
        <p:nvSpPr>
          <p:cNvPr id="7" name="Rectangle: Rounded Corners 25">
            <a:extLst>
              <a:ext uri="{FF2B5EF4-FFF2-40B4-BE49-F238E27FC236}">
                <a16:creationId xmlns:a16="http://schemas.microsoft.com/office/drawing/2014/main" id="{A32F6FEA-D182-BFB5-8381-B19636D12737}"/>
              </a:ext>
            </a:extLst>
          </p:cNvPr>
          <p:cNvSpPr/>
          <p:nvPr/>
        </p:nvSpPr>
        <p:spPr>
          <a:xfrm>
            <a:off x="9259007" y="580278"/>
            <a:ext cx="2607917" cy="5996868"/>
          </a:xfrm>
          <a:prstGeom prst="roundRect">
            <a:avLst>
              <a:gd name="adj" fmla="val 6375"/>
            </a:avLst>
          </a:prstGeom>
          <a:gradFill>
            <a:gsLst>
              <a:gs pos="100000">
                <a:schemeClr val="bg1"/>
              </a:gs>
              <a:gs pos="0">
                <a:srgbClr val="33CCCC">
                  <a:alpha val="7000"/>
                </a:srgbClr>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08000" rIns="0" bIns="0" numCol="1"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srgbClr val="FF0066"/>
                </a:solidFill>
                <a:effectLst/>
                <a:uLnTx/>
                <a:uFillTx/>
                <a:latin typeface="Roboto" panose="02000000000000000000" pitchFamily="2" charset="0"/>
                <a:ea typeface="Roboto" panose="02000000000000000000" pitchFamily="2" charset="0"/>
                <a:cs typeface="Roboto" panose="02000000000000000000" pitchFamily="2" charset="0"/>
              </a:rPr>
              <a:t>Value Provided</a:t>
            </a:r>
          </a:p>
        </p:txBody>
      </p:sp>
      <p:sp>
        <p:nvSpPr>
          <p:cNvPr id="9" name="Rectangle: Rounded Corners 25">
            <a:extLst>
              <a:ext uri="{FF2B5EF4-FFF2-40B4-BE49-F238E27FC236}">
                <a16:creationId xmlns:a16="http://schemas.microsoft.com/office/drawing/2014/main" id="{2234CAB2-7EE6-368C-5EA8-EB04A9602F2C}"/>
              </a:ext>
            </a:extLst>
          </p:cNvPr>
          <p:cNvSpPr/>
          <p:nvPr/>
        </p:nvSpPr>
        <p:spPr>
          <a:xfrm>
            <a:off x="526270" y="1270775"/>
            <a:ext cx="2533341" cy="630143"/>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esearch &amp; Innovation Roadmap</a:t>
            </a:r>
          </a:p>
        </p:txBody>
      </p:sp>
      <p:sp>
        <p:nvSpPr>
          <p:cNvPr id="58" name="Oval 57">
            <a:extLst>
              <a:ext uri="{FF2B5EF4-FFF2-40B4-BE49-F238E27FC236}">
                <a16:creationId xmlns:a16="http://schemas.microsoft.com/office/drawing/2014/main" id="{0B22E78F-8593-CF96-14E1-11CA1654021E}"/>
              </a:ext>
            </a:extLst>
          </p:cNvPr>
          <p:cNvSpPr/>
          <p:nvPr/>
        </p:nvSpPr>
        <p:spPr>
          <a:xfrm>
            <a:off x="4750062" y="1809610"/>
            <a:ext cx="2511339" cy="2584258"/>
          </a:xfrm>
          <a:prstGeom prst="ellipse">
            <a:avLst/>
          </a:prstGeom>
          <a:gradFill>
            <a:gsLst>
              <a:gs pos="0">
                <a:schemeClr val="bg1">
                  <a:lumMod val="95000"/>
                </a:schemeClr>
              </a:gs>
              <a:gs pos="100000">
                <a:schemeClr val="bg1">
                  <a:lumMod val="5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Graphic 19">
            <a:extLst>
              <a:ext uri="{FF2B5EF4-FFF2-40B4-BE49-F238E27FC236}">
                <a16:creationId xmlns:a16="http://schemas.microsoft.com/office/drawing/2014/main" id="{94FD7E39-55AF-F128-D00F-525B0E5B4AF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18726" y="2638603"/>
            <a:ext cx="1543873" cy="669149"/>
          </a:xfrm>
          <a:prstGeom prst="rect">
            <a:avLst/>
          </a:prstGeom>
        </p:spPr>
      </p:pic>
      <p:sp>
        <p:nvSpPr>
          <p:cNvPr id="57" name="Oval 56">
            <a:extLst>
              <a:ext uri="{FF2B5EF4-FFF2-40B4-BE49-F238E27FC236}">
                <a16:creationId xmlns:a16="http://schemas.microsoft.com/office/drawing/2014/main" id="{3DA6E314-0F7E-9552-F203-C792279E6401}"/>
              </a:ext>
            </a:extLst>
          </p:cNvPr>
          <p:cNvSpPr/>
          <p:nvPr/>
        </p:nvSpPr>
        <p:spPr>
          <a:xfrm>
            <a:off x="4818963" y="1878511"/>
            <a:ext cx="2362429" cy="243102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0AE87850-396C-1962-237D-2EF3C1F24FCB}"/>
              </a:ext>
            </a:extLst>
          </p:cNvPr>
          <p:cNvGrpSpPr/>
          <p:nvPr/>
        </p:nvGrpSpPr>
        <p:grpSpPr>
          <a:xfrm>
            <a:off x="5358299" y="1081916"/>
            <a:ext cx="1189525" cy="1205713"/>
            <a:chOff x="5370566" y="996161"/>
            <a:chExt cx="1439809" cy="1420086"/>
          </a:xfrm>
          <a:effectLst>
            <a:outerShdw blurRad="50800" dist="38100" dir="2700000" algn="tl" rotWithShape="0">
              <a:prstClr val="black">
                <a:alpha val="40000"/>
              </a:prstClr>
            </a:outerShdw>
          </a:effectLst>
        </p:grpSpPr>
        <p:sp>
          <p:nvSpPr>
            <p:cNvPr id="23" name="Oval 22">
              <a:extLst>
                <a:ext uri="{FF2B5EF4-FFF2-40B4-BE49-F238E27FC236}">
                  <a16:creationId xmlns:a16="http://schemas.microsoft.com/office/drawing/2014/main" id="{CA7F1C91-F135-3613-CF06-447A89505673}"/>
                </a:ext>
              </a:extLst>
            </p:cNvPr>
            <p:cNvSpPr/>
            <p:nvPr/>
          </p:nvSpPr>
          <p:spPr>
            <a:xfrm>
              <a:off x="5370566" y="996161"/>
              <a:ext cx="1420089" cy="1420086"/>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77479447-502C-DE3C-F02C-92DD5AFA4929}"/>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30F82FE-53F9-406A-4EEA-9380C99C9809}"/>
              </a:ext>
            </a:extLst>
          </p:cNvPr>
          <p:cNvGrpSpPr/>
          <p:nvPr/>
        </p:nvGrpSpPr>
        <p:grpSpPr>
          <a:xfrm>
            <a:off x="6671553" y="2030280"/>
            <a:ext cx="1189525" cy="1205714"/>
            <a:chOff x="5370566" y="996164"/>
            <a:chExt cx="1439809" cy="1420087"/>
          </a:xfrm>
          <a:effectLst>
            <a:outerShdw blurRad="50800" dist="38100" dir="2700000" algn="tl" rotWithShape="0">
              <a:prstClr val="black">
                <a:alpha val="40000"/>
              </a:prstClr>
            </a:outerShdw>
          </a:effectLst>
        </p:grpSpPr>
        <p:sp>
          <p:nvSpPr>
            <p:cNvPr id="26" name="Oval 25">
              <a:extLst>
                <a:ext uri="{FF2B5EF4-FFF2-40B4-BE49-F238E27FC236}">
                  <a16:creationId xmlns:a16="http://schemas.microsoft.com/office/drawing/2014/main" id="{E30BCFA8-1422-5EA7-9086-7731FD1FC8A3}"/>
                </a:ext>
              </a:extLst>
            </p:cNvPr>
            <p:cNvSpPr/>
            <p:nvPr/>
          </p:nvSpPr>
          <p:spPr>
            <a:xfrm>
              <a:off x="5370566" y="996164"/>
              <a:ext cx="1420089" cy="1420087"/>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CF8BBED1-C5B9-7C4B-4664-121559E64CE0}"/>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72F779E0-D4B2-2253-908C-E4E39CAF3A9F}"/>
              </a:ext>
            </a:extLst>
          </p:cNvPr>
          <p:cNvGrpSpPr/>
          <p:nvPr/>
        </p:nvGrpSpPr>
        <p:grpSpPr>
          <a:xfrm>
            <a:off x="6150142" y="3559189"/>
            <a:ext cx="1189525" cy="1205714"/>
            <a:chOff x="5370565" y="996164"/>
            <a:chExt cx="1439810" cy="1420087"/>
          </a:xfrm>
          <a:effectLst>
            <a:outerShdw blurRad="50800" dist="38100" dir="2700000" algn="tl" rotWithShape="0">
              <a:prstClr val="black">
                <a:alpha val="40000"/>
              </a:prstClr>
            </a:outerShdw>
          </a:effectLst>
        </p:grpSpPr>
        <p:sp>
          <p:nvSpPr>
            <p:cNvPr id="29" name="Oval 28">
              <a:extLst>
                <a:ext uri="{FF2B5EF4-FFF2-40B4-BE49-F238E27FC236}">
                  <a16:creationId xmlns:a16="http://schemas.microsoft.com/office/drawing/2014/main" id="{A12CF15E-FF68-4FA3-75EB-6583F609FF54}"/>
                </a:ext>
              </a:extLst>
            </p:cNvPr>
            <p:cNvSpPr/>
            <p:nvPr/>
          </p:nvSpPr>
          <p:spPr>
            <a:xfrm>
              <a:off x="5370565" y="996164"/>
              <a:ext cx="1420089" cy="1420087"/>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2D19BE0D-AB5E-F907-B2F7-2C21E9E5F4BE}"/>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A0C51FBC-AD30-3E32-1AE2-60191C053238}"/>
              </a:ext>
            </a:extLst>
          </p:cNvPr>
          <p:cNvGrpSpPr/>
          <p:nvPr/>
        </p:nvGrpSpPr>
        <p:grpSpPr>
          <a:xfrm>
            <a:off x="4062662" y="2030277"/>
            <a:ext cx="1194670" cy="1205713"/>
            <a:chOff x="5364338" y="996161"/>
            <a:chExt cx="1446037" cy="1420086"/>
          </a:xfrm>
          <a:effectLst>
            <a:outerShdw blurRad="50800" dist="38100" dir="2700000" algn="tl" rotWithShape="0">
              <a:prstClr val="black">
                <a:alpha val="40000"/>
              </a:prstClr>
            </a:outerShdw>
          </a:effectLst>
        </p:grpSpPr>
        <p:sp>
          <p:nvSpPr>
            <p:cNvPr id="32" name="Oval 31">
              <a:extLst>
                <a:ext uri="{FF2B5EF4-FFF2-40B4-BE49-F238E27FC236}">
                  <a16:creationId xmlns:a16="http://schemas.microsoft.com/office/drawing/2014/main" id="{75286CB9-D90A-49EA-EAB5-DE15FF2B3EE2}"/>
                </a:ext>
              </a:extLst>
            </p:cNvPr>
            <p:cNvSpPr/>
            <p:nvPr/>
          </p:nvSpPr>
          <p:spPr>
            <a:xfrm>
              <a:off x="5364338" y="996161"/>
              <a:ext cx="1420090" cy="1420086"/>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279E593B-8D49-47AD-29E3-B755ED01B998}"/>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34" name="Group 33">
            <a:extLst>
              <a:ext uri="{FF2B5EF4-FFF2-40B4-BE49-F238E27FC236}">
                <a16:creationId xmlns:a16="http://schemas.microsoft.com/office/drawing/2014/main" id="{15E37046-26EF-3E70-37D6-4D9DD60861BE}"/>
              </a:ext>
            </a:extLst>
          </p:cNvPr>
          <p:cNvGrpSpPr/>
          <p:nvPr/>
        </p:nvGrpSpPr>
        <p:grpSpPr>
          <a:xfrm>
            <a:off x="4535875" y="3559189"/>
            <a:ext cx="1196382" cy="1205714"/>
            <a:chOff x="5362264" y="996164"/>
            <a:chExt cx="1448111" cy="1420087"/>
          </a:xfrm>
          <a:effectLst>
            <a:outerShdw blurRad="50800" dist="38100" dir="2700000" algn="tl" rotWithShape="0">
              <a:prstClr val="black">
                <a:alpha val="40000"/>
              </a:prstClr>
            </a:outerShdw>
          </a:effectLst>
        </p:grpSpPr>
        <p:sp>
          <p:nvSpPr>
            <p:cNvPr id="35" name="Oval 34">
              <a:extLst>
                <a:ext uri="{FF2B5EF4-FFF2-40B4-BE49-F238E27FC236}">
                  <a16:creationId xmlns:a16="http://schemas.microsoft.com/office/drawing/2014/main" id="{E55B1458-53D7-3A55-66EF-336C72F663A0}"/>
                </a:ext>
              </a:extLst>
            </p:cNvPr>
            <p:cNvSpPr/>
            <p:nvPr/>
          </p:nvSpPr>
          <p:spPr>
            <a:xfrm>
              <a:off x="5362264" y="996164"/>
              <a:ext cx="1420087" cy="1420087"/>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AA9A1E4F-7AE1-A28B-D88A-30C22EFCD823}"/>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4D51B9-C018-B1EF-9B44-E895A6C65B9B}"/>
              </a:ext>
            </a:extLst>
          </p:cNvPr>
          <p:cNvSpPr txBox="1"/>
          <p:nvPr/>
        </p:nvSpPr>
        <p:spPr>
          <a:xfrm>
            <a:off x="6699365" y="2251330"/>
            <a:ext cx="1128614"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hlinkClick r:id="rId4" action="ppaction://hlinkfile"/>
              </a:rPr>
              <a:t>Infringement/ Enforcement Assessment </a:t>
            </a:r>
            <a:endParaRPr kumimoji="0" lang="en-US" sz="1000" b="0"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4" name="TextBox 43">
            <a:extLst>
              <a:ext uri="{FF2B5EF4-FFF2-40B4-BE49-F238E27FC236}">
                <a16:creationId xmlns:a16="http://schemas.microsoft.com/office/drawing/2014/main" id="{57A5DC2C-D091-0275-81E0-5E04C91ADF38}"/>
              </a:ext>
            </a:extLst>
          </p:cNvPr>
          <p:cNvSpPr txBox="1"/>
          <p:nvPr/>
        </p:nvSpPr>
        <p:spPr>
          <a:xfrm>
            <a:off x="4067673" y="2357463"/>
            <a:ext cx="12213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hlinkClick r:id="rId5" action="ppaction://hlinkfile"/>
              </a:rPr>
              <a:t>Patent Benchmarking</a:t>
            </a:r>
            <a:endParaRPr kumimoji="0" lang="en-US" sz="1000" b="0"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5" name="TextBox 44">
            <a:extLst>
              <a:ext uri="{FF2B5EF4-FFF2-40B4-BE49-F238E27FC236}">
                <a16:creationId xmlns:a16="http://schemas.microsoft.com/office/drawing/2014/main" id="{3ED34336-D687-84C1-7BA3-8A1D57666679}"/>
              </a:ext>
            </a:extLst>
          </p:cNvPr>
          <p:cNvSpPr txBox="1"/>
          <p:nvPr/>
        </p:nvSpPr>
        <p:spPr>
          <a:xfrm>
            <a:off x="6274559" y="3901277"/>
            <a:ext cx="102017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hlinkClick r:id="rId6" action="ppaction://hlinkfile"/>
              </a:rPr>
              <a:t>Patent Monetization</a:t>
            </a:r>
            <a:endPar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6" name="TextBox 45">
            <a:extLst>
              <a:ext uri="{FF2B5EF4-FFF2-40B4-BE49-F238E27FC236}">
                <a16:creationId xmlns:a16="http://schemas.microsoft.com/office/drawing/2014/main" id="{C25927F1-E35A-B7A7-31D9-DF933347B10E}"/>
              </a:ext>
            </a:extLst>
          </p:cNvPr>
          <p:cNvSpPr txBox="1"/>
          <p:nvPr/>
        </p:nvSpPr>
        <p:spPr>
          <a:xfrm>
            <a:off x="4507936" y="3843783"/>
            <a:ext cx="1355313"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hlinkClick r:id="rId7" action="ppaction://hlinkfile"/>
              </a:rPr>
              <a:t>Merger &amp; Acquisition Assessment</a:t>
            </a:r>
            <a:endPar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8" name="Rectangle: Rounded Corners 47">
            <a:extLst>
              <a:ext uri="{FF2B5EF4-FFF2-40B4-BE49-F238E27FC236}">
                <a16:creationId xmlns:a16="http://schemas.microsoft.com/office/drawing/2014/main" id="{A8E68980-6AAD-4B13-BDD4-2D5A3FBCA40D}"/>
              </a:ext>
            </a:extLst>
          </p:cNvPr>
          <p:cNvSpPr/>
          <p:nvPr/>
        </p:nvSpPr>
        <p:spPr>
          <a:xfrm>
            <a:off x="5299044" y="2786859"/>
            <a:ext cx="1347420" cy="20899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ue diligence </a:t>
            </a:r>
          </a:p>
        </p:txBody>
      </p:sp>
      <p:sp>
        <p:nvSpPr>
          <p:cNvPr id="49" name="Rectangle: Rounded Corners 48">
            <a:extLst>
              <a:ext uri="{FF2B5EF4-FFF2-40B4-BE49-F238E27FC236}">
                <a16:creationId xmlns:a16="http://schemas.microsoft.com/office/drawing/2014/main" id="{D2DFAE63-1F3B-9B87-8668-D6055DBF15CC}"/>
              </a:ext>
            </a:extLst>
          </p:cNvPr>
          <p:cNvSpPr/>
          <p:nvPr/>
        </p:nvSpPr>
        <p:spPr>
          <a:xfrm>
            <a:off x="5299044" y="3006892"/>
            <a:ext cx="1347420" cy="20899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Value creation</a:t>
            </a:r>
          </a:p>
        </p:txBody>
      </p:sp>
      <p:sp>
        <p:nvSpPr>
          <p:cNvPr id="50" name="Rectangle: Rounded Corners 49">
            <a:extLst>
              <a:ext uri="{FF2B5EF4-FFF2-40B4-BE49-F238E27FC236}">
                <a16:creationId xmlns:a16="http://schemas.microsoft.com/office/drawing/2014/main" id="{2D95D37B-2C0F-1689-621F-45C914A2926B}"/>
              </a:ext>
            </a:extLst>
          </p:cNvPr>
          <p:cNvSpPr/>
          <p:nvPr/>
        </p:nvSpPr>
        <p:spPr>
          <a:xfrm>
            <a:off x="5299044" y="2566041"/>
            <a:ext cx="1347420" cy="20899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Benchmarking</a:t>
            </a:r>
          </a:p>
        </p:txBody>
      </p:sp>
      <p:sp>
        <p:nvSpPr>
          <p:cNvPr id="52" name="Rectangle: Rounded Corners 51">
            <a:extLst>
              <a:ext uri="{FF2B5EF4-FFF2-40B4-BE49-F238E27FC236}">
                <a16:creationId xmlns:a16="http://schemas.microsoft.com/office/drawing/2014/main" id="{85743AFC-5840-42AF-EC74-822452723234}"/>
              </a:ext>
            </a:extLst>
          </p:cNvPr>
          <p:cNvSpPr/>
          <p:nvPr/>
        </p:nvSpPr>
        <p:spPr>
          <a:xfrm>
            <a:off x="5299044" y="3224072"/>
            <a:ext cx="1347420" cy="20899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trategic insights</a:t>
            </a:r>
          </a:p>
        </p:txBody>
      </p:sp>
      <p:sp>
        <p:nvSpPr>
          <p:cNvPr id="53" name="TextBox 52">
            <a:extLst>
              <a:ext uri="{FF2B5EF4-FFF2-40B4-BE49-F238E27FC236}">
                <a16:creationId xmlns:a16="http://schemas.microsoft.com/office/drawing/2014/main" id="{E312E602-BD69-114E-4A64-769188AF47E1}"/>
              </a:ext>
            </a:extLst>
          </p:cNvPr>
          <p:cNvSpPr txBox="1"/>
          <p:nvPr/>
        </p:nvSpPr>
        <p:spPr>
          <a:xfrm>
            <a:off x="5389285" y="1392296"/>
            <a:ext cx="116464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hlinkClick r:id="rId8" action="ppaction://hlinkfile"/>
              </a:rPr>
              <a:t>Risk Assessment</a:t>
            </a:r>
            <a:endParaRPr kumimoji="0" lang="en-US" sz="1000" b="0"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 name="Rectangle: Rounded Corners 25">
            <a:extLst>
              <a:ext uri="{FF2B5EF4-FFF2-40B4-BE49-F238E27FC236}">
                <a16:creationId xmlns:a16="http://schemas.microsoft.com/office/drawing/2014/main" id="{3A966E8C-185B-C944-D4BD-EDE6233D48A1}"/>
              </a:ext>
            </a:extLst>
          </p:cNvPr>
          <p:cNvSpPr/>
          <p:nvPr/>
        </p:nvSpPr>
        <p:spPr>
          <a:xfrm>
            <a:off x="526270" y="2150466"/>
            <a:ext cx="2533341" cy="630143"/>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Strategic Partnerships/ Acquisitions </a:t>
            </a:r>
          </a:p>
        </p:txBody>
      </p:sp>
      <p:sp>
        <p:nvSpPr>
          <p:cNvPr id="3" name="Rectangle: Rounded Corners 25">
            <a:extLst>
              <a:ext uri="{FF2B5EF4-FFF2-40B4-BE49-F238E27FC236}">
                <a16:creationId xmlns:a16="http://schemas.microsoft.com/office/drawing/2014/main" id="{073EF21A-B718-0AE8-97D5-0B369FA1DA2D}"/>
              </a:ext>
            </a:extLst>
          </p:cNvPr>
          <p:cNvSpPr/>
          <p:nvPr/>
        </p:nvSpPr>
        <p:spPr>
          <a:xfrm>
            <a:off x="526270" y="3030157"/>
            <a:ext cx="2533341" cy="630143"/>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Portfolio Evaluation</a:t>
            </a:r>
          </a:p>
        </p:txBody>
      </p:sp>
      <p:sp>
        <p:nvSpPr>
          <p:cNvPr id="10" name="Rectangle: Rounded Corners 25">
            <a:extLst>
              <a:ext uri="{FF2B5EF4-FFF2-40B4-BE49-F238E27FC236}">
                <a16:creationId xmlns:a16="http://schemas.microsoft.com/office/drawing/2014/main" id="{58CB77B8-84CC-4087-6B73-8C6684490A2E}"/>
              </a:ext>
            </a:extLst>
          </p:cNvPr>
          <p:cNvSpPr/>
          <p:nvPr/>
        </p:nvSpPr>
        <p:spPr>
          <a:xfrm>
            <a:off x="526270" y="3909848"/>
            <a:ext cx="2533341" cy="630143"/>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Competitive Advantage</a:t>
            </a:r>
          </a:p>
        </p:txBody>
      </p:sp>
      <p:sp>
        <p:nvSpPr>
          <p:cNvPr id="11" name="Rectangle: Rounded Corners 25">
            <a:extLst>
              <a:ext uri="{FF2B5EF4-FFF2-40B4-BE49-F238E27FC236}">
                <a16:creationId xmlns:a16="http://schemas.microsoft.com/office/drawing/2014/main" id="{E5F23CBC-BD06-CC5A-76CF-A1953A2C7421}"/>
              </a:ext>
            </a:extLst>
          </p:cNvPr>
          <p:cNvSpPr/>
          <p:nvPr/>
        </p:nvSpPr>
        <p:spPr>
          <a:xfrm>
            <a:off x="526270" y="4789538"/>
            <a:ext cx="2533341" cy="630143"/>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isk Management</a:t>
            </a:r>
          </a:p>
        </p:txBody>
      </p:sp>
      <p:sp>
        <p:nvSpPr>
          <p:cNvPr id="12" name="Rectangle: Rounded Corners 25">
            <a:extLst>
              <a:ext uri="{FF2B5EF4-FFF2-40B4-BE49-F238E27FC236}">
                <a16:creationId xmlns:a16="http://schemas.microsoft.com/office/drawing/2014/main" id="{F5AE7822-1F76-8C29-BE14-9BAEB7E0A56D}"/>
              </a:ext>
            </a:extLst>
          </p:cNvPr>
          <p:cNvSpPr/>
          <p:nvPr/>
        </p:nvSpPr>
        <p:spPr>
          <a:xfrm>
            <a:off x="9545534" y="1193660"/>
            <a:ext cx="2128835" cy="64148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evenue Generation</a:t>
            </a:r>
          </a:p>
        </p:txBody>
      </p:sp>
      <p:sp>
        <p:nvSpPr>
          <p:cNvPr id="42" name="Rectangle: Rounded Corners 25">
            <a:extLst>
              <a:ext uri="{FF2B5EF4-FFF2-40B4-BE49-F238E27FC236}">
                <a16:creationId xmlns:a16="http://schemas.microsoft.com/office/drawing/2014/main" id="{92D2167F-2F23-5CEE-D8D5-9F69D2FDC701}"/>
              </a:ext>
            </a:extLst>
          </p:cNvPr>
          <p:cNvSpPr/>
          <p:nvPr/>
        </p:nvSpPr>
        <p:spPr>
          <a:xfrm>
            <a:off x="9545534" y="2091106"/>
            <a:ext cx="2128835" cy="64148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Cost Optimization </a:t>
            </a:r>
          </a:p>
        </p:txBody>
      </p:sp>
      <p:sp>
        <p:nvSpPr>
          <p:cNvPr id="51" name="Rectangle: Rounded Corners 25">
            <a:extLst>
              <a:ext uri="{FF2B5EF4-FFF2-40B4-BE49-F238E27FC236}">
                <a16:creationId xmlns:a16="http://schemas.microsoft.com/office/drawing/2014/main" id="{202720E6-1A2E-F80A-B943-BB0DF83E5488}"/>
              </a:ext>
            </a:extLst>
          </p:cNvPr>
          <p:cNvSpPr/>
          <p:nvPr/>
        </p:nvSpPr>
        <p:spPr>
          <a:xfrm>
            <a:off x="9545534" y="2988552"/>
            <a:ext cx="2128835" cy="64148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isk</a:t>
            </a:r>
            <a:r>
              <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rPr>
              <a:t> </a:t>
            </a: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Mitigation Strategies </a:t>
            </a:r>
          </a:p>
        </p:txBody>
      </p:sp>
      <p:sp>
        <p:nvSpPr>
          <p:cNvPr id="54" name="Rectangle: Rounded Corners 25">
            <a:extLst>
              <a:ext uri="{FF2B5EF4-FFF2-40B4-BE49-F238E27FC236}">
                <a16:creationId xmlns:a16="http://schemas.microsoft.com/office/drawing/2014/main" id="{FC22B9B7-E043-33DC-6A48-5A74C24BEBC1}"/>
              </a:ext>
            </a:extLst>
          </p:cNvPr>
          <p:cNvSpPr/>
          <p:nvPr/>
        </p:nvSpPr>
        <p:spPr>
          <a:xfrm>
            <a:off x="9545534" y="3885998"/>
            <a:ext cx="2128835" cy="64148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Collaboration &amp; Partnerships</a:t>
            </a:r>
          </a:p>
        </p:txBody>
      </p:sp>
      <p:sp>
        <p:nvSpPr>
          <p:cNvPr id="55" name="Rectangle: Rounded Corners 25">
            <a:extLst>
              <a:ext uri="{FF2B5EF4-FFF2-40B4-BE49-F238E27FC236}">
                <a16:creationId xmlns:a16="http://schemas.microsoft.com/office/drawing/2014/main" id="{13959677-0690-EA91-2523-5BFA61007E42}"/>
              </a:ext>
            </a:extLst>
          </p:cNvPr>
          <p:cNvSpPr/>
          <p:nvPr/>
        </p:nvSpPr>
        <p:spPr>
          <a:xfrm>
            <a:off x="9545534" y="4683516"/>
            <a:ext cx="2128835" cy="641484"/>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Vertical Integration</a:t>
            </a:r>
          </a:p>
        </p:txBody>
      </p:sp>
    </p:spTree>
    <p:extLst>
      <p:ext uri="{BB962C8B-B14F-4D97-AF65-F5344CB8AC3E}">
        <p14:creationId xmlns:p14="http://schemas.microsoft.com/office/powerpoint/2010/main" val="774779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8</TotalTime>
  <Words>56</Words>
  <Application>Microsoft Office PowerPoint</Application>
  <PresentationFormat>Widescreen</PresentationFormat>
  <Paragraphs>22</Paragraphs>
  <Slides>1</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3" baseType="lpstr">
      <vt:lpstr>Arial</vt:lpstr>
      <vt:lpstr>Calibri</vt:lpstr>
      <vt:lpstr>Calibri Light</vt:lpstr>
      <vt:lpstr>Open Sans</vt:lpstr>
      <vt:lpstr>Raleway ExtraBold</vt:lpstr>
      <vt:lpstr>Raleway Medium</vt:lpstr>
      <vt:lpstr>Raleway SemiBold</vt:lpstr>
      <vt:lpstr>Roboto</vt:lpstr>
      <vt:lpstr>Segoe UI</vt:lpstr>
      <vt:lpstr>Verdana</vt:lpstr>
      <vt:lpstr>1_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lesh Tiwari</dc:creator>
  <cp:lastModifiedBy>Nilesh Tiwari</cp:lastModifiedBy>
  <cp:revision>3</cp:revision>
  <dcterms:created xsi:type="dcterms:W3CDTF">2024-01-03T11:10:03Z</dcterms:created>
  <dcterms:modified xsi:type="dcterms:W3CDTF">2024-01-03T18:23:27Z</dcterms:modified>
</cp:coreProperties>
</file>